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55.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9" r:id="rId3"/>
    <p:sldMasterId id="2147483670" r:id="rId4"/>
    <p:sldMasterId id="2147483690" r:id="rId5"/>
    <p:sldMasterId id="2147483697" r:id="rId6"/>
    <p:sldMasterId id="2147483714" r:id="rId7"/>
    <p:sldMasterId id="2147483716" r:id="rId8"/>
  </p:sldMasterIdLst>
  <p:notesMasterIdLst>
    <p:notesMasterId r:id="rId29"/>
  </p:notesMasterIdLst>
  <p:handoutMasterIdLst>
    <p:handoutMasterId r:id="rId78"/>
  </p:handoutMasterIdLst>
  <p:sldIdLst>
    <p:sldId id="16775343" r:id="rId9"/>
    <p:sldId id="16775344" r:id="rId10"/>
    <p:sldId id="277" r:id="rId11"/>
    <p:sldId id="257" r:id="rId12"/>
    <p:sldId id="258" r:id="rId13"/>
    <p:sldId id="259" r:id="rId14"/>
    <p:sldId id="261" r:id="rId15"/>
    <p:sldId id="263" r:id="rId16"/>
    <p:sldId id="264" r:id="rId17"/>
    <p:sldId id="308" r:id="rId18"/>
    <p:sldId id="309" r:id="rId19"/>
    <p:sldId id="310" r:id="rId20"/>
    <p:sldId id="278" r:id="rId21"/>
    <p:sldId id="265" r:id="rId22"/>
    <p:sldId id="266" r:id="rId23"/>
    <p:sldId id="267" r:id="rId24"/>
    <p:sldId id="268" r:id="rId25"/>
    <p:sldId id="281" r:id="rId26"/>
    <p:sldId id="269" r:id="rId27"/>
    <p:sldId id="446" r:id="rId28"/>
    <p:sldId id="519" r:id="rId30"/>
    <p:sldId id="509" r:id="rId31"/>
    <p:sldId id="272" r:id="rId32"/>
    <p:sldId id="526" r:id="rId33"/>
    <p:sldId id="527" r:id="rId34"/>
    <p:sldId id="271" r:id="rId35"/>
    <p:sldId id="273" r:id="rId36"/>
    <p:sldId id="274" r:id="rId37"/>
    <p:sldId id="275" r:id="rId38"/>
    <p:sldId id="276" r:id="rId39"/>
    <p:sldId id="282" r:id="rId40"/>
    <p:sldId id="283" r:id="rId41"/>
    <p:sldId id="287" r:id="rId42"/>
    <p:sldId id="284" r:id="rId43"/>
    <p:sldId id="528" r:id="rId44"/>
    <p:sldId id="285" r:id="rId45"/>
    <p:sldId id="286" r:id="rId46"/>
    <p:sldId id="289" r:id="rId47"/>
    <p:sldId id="290" r:id="rId48"/>
    <p:sldId id="292" r:id="rId49"/>
    <p:sldId id="293" r:id="rId50"/>
    <p:sldId id="295" r:id="rId51"/>
    <p:sldId id="296" r:id="rId52"/>
    <p:sldId id="294" r:id="rId53"/>
    <p:sldId id="297" r:id="rId54"/>
    <p:sldId id="298" r:id="rId55"/>
    <p:sldId id="299" r:id="rId56"/>
    <p:sldId id="300" r:id="rId57"/>
    <p:sldId id="529" r:id="rId58"/>
    <p:sldId id="530" r:id="rId59"/>
    <p:sldId id="16775336" r:id="rId60"/>
    <p:sldId id="262" r:id="rId61"/>
    <p:sldId id="531" r:id="rId62"/>
    <p:sldId id="532" r:id="rId63"/>
    <p:sldId id="533" r:id="rId64"/>
    <p:sldId id="536" r:id="rId65"/>
    <p:sldId id="535" r:id="rId66"/>
    <p:sldId id="16775339" r:id="rId67"/>
    <p:sldId id="16775340" r:id="rId68"/>
    <p:sldId id="16775341" r:id="rId69"/>
    <p:sldId id="302" r:id="rId70"/>
    <p:sldId id="303" r:id="rId71"/>
    <p:sldId id="304" r:id="rId72"/>
    <p:sldId id="16775342" r:id="rId73"/>
    <p:sldId id="2982" r:id="rId74"/>
    <p:sldId id="4383" r:id="rId75"/>
    <p:sldId id="16775345" r:id="rId76"/>
    <p:sldId id="307" r:id="rId7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47" userDrawn="1">
          <p15:clr>
            <a:srgbClr val="A4A3A4"/>
          </p15:clr>
        </p15:guide>
        <p15:guide id="2" pos="380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 yang(Evonne)" initials="Ly" lastIdx="0" clrIdx="0"/>
  <p:cmAuthor id="2" name="ZHOU, Desheng" initials="ZD" lastIdx="0" clrIdx="1"/>
  <p:cmAuthor id="3" name="Rui Luo" initials="RL" lastIdx="0" clrIdx="2"/>
  <p:cmAuthor id="4" name="颖琛" initials="颖琛" lastIdx="0" clrIdx="3"/>
  <p:cmAuthor id="5" name="A5640"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51" autoAdjust="0"/>
    <p:restoredTop sz="94660"/>
  </p:normalViewPr>
  <p:slideViewPr>
    <p:cSldViewPr snapToGrid="0" showGuides="1">
      <p:cViewPr varScale="1">
        <p:scale>
          <a:sx n="79" d="100"/>
          <a:sy n="79" d="100"/>
        </p:scale>
        <p:origin x="840" y="67"/>
      </p:cViewPr>
      <p:guideLst>
        <p:guide orient="horz" pos="2147"/>
        <p:guide pos="380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1.xml"/><Relationship Id="rId82" Type="http://schemas.openxmlformats.org/officeDocument/2006/relationships/commentAuthors" Target="commentAuthors.xml"/><Relationship Id="rId81" Type="http://schemas.openxmlformats.org/officeDocument/2006/relationships/tableStyles" Target="tableStyles.xml"/><Relationship Id="rId80" Type="http://schemas.openxmlformats.org/officeDocument/2006/relationships/viewProps" Target="viewProps.xml"/><Relationship Id="rId8" Type="http://schemas.openxmlformats.org/officeDocument/2006/relationships/slideMaster" Target="slideMasters/slideMaster7.xml"/><Relationship Id="rId79" Type="http://schemas.openxmlformats.org/officeDocument/2006/relationships/presProps" Target="presProps.xml"/><Relationship Id="rId78" Type="http://schemas.openxmlformats.org/officeDocument/2006/relationships/handoutMaster" Target="handoutMasters/handoutMaster1.xml"/><Relationship Id="rId77" Type="http://schemas.openxmlformats.org/officeDocument/2006/relationships/slide" Target="slides/slide68.xml"/><Relationship Id="rId76" Type="http://schemas.openxmlformats.org/officeDocument/2006/relationships/slide" Target="slides/slide67.xml"/><Relationship Id="rId75" Type="http://schemas.openxmlformats.org/officeDocument/2006/relationships/slide" Target="slides/slide66.xml"/><Relationship Id="rId74" Type="http://schemas.openxmlformats.org/officeDocument/2006/relationships/slide" Target="slides/slide65.xml"/><Relationship Id="rId73" Type="http://schemas.openxmlformats.org/officeDocument/2006/relationships/slide" Target="slides/slide64.xml"/><Relationship Id="rId72" Type="http://schemas.openxmlformats.org/officeDocument/2006/relationships/slide" Target="slides/slide63.xml"/><Relationship Id="rId71" Type="http://schemas.openxmlformats.org/officeDocument/2006/relationships/slide" Target="slides/slide62.xml"/><Relationship Id="rId70" Type="http://schemas.openxmlformats.org/officeDocument/2006/relationships/slide" Target="slides/slide61.xml"/><Relationship Id="rId7" Type="http://schemas.openxmlformats.org/officeDocument/2006/relationships/slideMaster" Target="slideMasters/slideMaster6.xml"/><Relationship Id="rId69" Type="http://schemas.openxmlformats.org/officeDocument/2006/relationships/slide" Target="slides/slide60.xml"/><Relationship Id="rId68" Type="http://schemas.openxmlformats.org/officeDocument/2006/relationships/slide" Target="slides/slide59.xml"/><Relationship Id="rId67" Type="http://schemas.openxmlformats.org/officeDocument/2006/relationships/slide" Target="slides/slide58.xml"/><Relationship Id="rId66" Type="http://schemas.openxmlformats.org/officeDocument/2006/relationships/slide" Target="slides/slide57.xml"/><Relationship Id="rId65" Type="http://schemas.openxmlformats.org/officeDocument/2006/relationships/slide" Target="slides/slide56.xml"/><Relationship Id="rId64" Type="http://schemas.openxmlformats.org/officeDocument/2006/relationships/slide" Target="slides/slide55.xml"/><Relationship Id="rId63" Type="http://schemas.openxmlformats.org/officeDocument/2006/relationships/slide" Target="slides/slide54.xml"/><Relationship Id="rId62" Type="http://schemas.openxmlformats.org/officeDocument/2006/relationships/slide" Target="slides/slide53.xml"/><Relationship Id="rId61" Type="http://schemas.openxmlformats.org/officeDocument/2006/relationships/slide" Target="slides/slide52.xml"/><Relationship Id="rId60" Type="http://schemas.openxmlformats.org/officeDocument/2006/relationships/slide" Target="slides/slide51.xml"/><Relationship Id="rId6" Type="http://schemas.openxmlformats.org/officeDocument/2006/relationships/slideMaster" Target="slideMasters/slideMaster5.xml"/><Relationship Id="rId59" Type="http://schemas.openxmlformats.org/officeDocument/2006/relationships/slide" Target="slides/slide50.xml"/><Relationship Id="rId58" Type="http://schemas.openxmlformats.org/officeDocument/2006/relationships/slide" Target="slides/slide49.xml"/><Relationship Id="rId57" Type="http://schemas.openxmlformats.org/officeDocument/2006/relationships/slide" Target="slides/slide48.xml"/><Relationship Id="rId56" Type="http://schemas.openxmlformats.org/officeDocument/2006/relationships/slide" Target="slides/slide47.xml"/><Relationship Id="rId55" Type="http://schemas.openxmlformats.org/officeDocument/2006/relationships/slide" Target="slides/slide46.xml"/><Relationship Id="rId54" Type="http://schemas.openxmlformats.org/officeDocument/2006/relationships/slide" Target="slides/slide45.xml"/><Relationship Id="rId53" Type="http://schemas.openxmlformats.org/officeDocument/2006/relationships/slide" Target="slides/slide44.xml"/><Relationship Id="rId52" Type="http://schemas.openxmlformats.org/officeDocument/2006/relationships/slide" Target="slides/slide43.xml"/><Relationship Id="rId51" Type="http://schemas.openxmlformats.org/officeDocument/2006/relationships/slide" Target="slides/slide42.xml"/><Relationship Id="rId50" Type="http://schemas.openxmlformats.org/officeDocument/2006/relationships/slide" Target="slides/slide41.xml"/><Relationship Id="rId5" Type="http://schemas.openxmlformats.org/officeDocument/2006/relationships/slideMaster" Target="slideMasters/slideMaster4.xml"/><Relationship Id="rId49" Type="http://schemas.openxmlformats.org/officeDocument/2006/relationships/slide" Target="slides/slide40.xml"/><Relationship Id="rId48" Type="http://schemas.openxmlformats.org/officeDocument/2006/relationships/slide" Target="slides/slide39.xml"/><Relationship Id="rId47" Type="http://schemas.openxmlformats.org/officeDocument/2006/relationships/slide" Target="slides/slide38.xml"/><Relationship Id="rId46" Type="http://schemas.openxmlformats.org/officeDocument/2006/relationships/slide" Target="slides/slide37.xml"/><Relationship Id="rId45" Type="http://schemas.openxmlformats.org/officeDocument/2006/relationships/slide" Target="slides/slide36.xml"/><Relationship Id="rId44" Type="http://schemas.openxmlformats.org/officeDocument/2006/relationships/slide" Target="slides/slide35.xml"/><Relationship Id="rId43" Type="http://schemas.openxmlformats.org/officeDocument/2006/relationships/slide" Target="slides/slide34.xml"/><Relationship Id="rId42" Type="http://schemas.openxmlformats.org/officeDocument/2006/relationships/slide" Target="slides/slide33.xml"/><Relationship Id="rId41" Type="http://schemas.openxmlformats.org/officeDocument/2006/relationships/slide" Target="slides/slide32.xml"/><Relationship Id="rId40" Type="http://schemas.openxmlformats.org/officeDocument/2006/relationships/slide" Target="slides/slide31.xml"/><Relationship Id="rId4" Type="http://schemas.openxmlformats.org/officeDocument/2006/relationships/slideMaster" Target="slideMasters/slideMaster3.xml"/><Relationship Id="rId39" Type="http://schemas.openxmlformats.org/officeDocument/2006/relationships/slide" Target="slides/slide30.xml"/><Relationship Id="rId38" Type="http://schemas.openxmlformats.org/officeDocument/2006/relationships/slide" Target="slides/slide29.xml"/><Relationship Id="rId37" Type="http://schemas.openxmlformats.org/officeDocument/2006/relationships/slide" Target="slides/slide28.xml"/><Relationship Id="rId36" Type="http://schemas.openxmlformats.org/officeDocument/2006/relationships/slide" Target="slides/slide27.xml"/><Relationship Id="rId35" Type="http://schemas.openxmlformats.org/officeDocument/2006/relationships/slide" Target="slides/slide26.xml"/><Relationship Id="rId34" Type="http://schemas.openxmlformats.org/officeDocument/2006/relationships/slide" Target="slides/slide25.xml"/><Relationship Id="rId33" Type="http://schemas.openxmlformats.org/officeDocument/2006/relationships/slide" Target="slides/slide24.xml"/><Relationship Id="rId32" Type="http://schemas.openxmlformats.org/officeDocument/2006/relationships/slide" Target="slides/slide23.xml"/><Relationship Id="rId31" Type="http://schemas.openxmlformats.org/officeDocument/2006/relationships/slide" Target="slides/slide22.xml"/><Relationship Id="rId30" Type="http://schemas.openxmlformats.org/officeDocument/2006/relationships/slide" Target="slides/slide21.xml"/><Relationship Id="rId3" Type="http://schemas.openxmlformats.org/officeDocument/2006/relationships/slideMaster" Target="slideMasters/slideMaster2.xml"/><Relationship Id="rId29" Type="http://schemas.openxmlformats.org/officeDocument/2006/relationships/notesMaster" Target="notesMasters/notesMaster1.xml"/><Relationship Id="rId28" Type="http://schemas.openxmlformats.org/officeDocument/2006/relationships/slide" Target="slides/slide20.xml"/><Relationship Id="rId27" Type="http://schemas.openxmlformats.org/officeDocument/2006/relationships/slide" Target="slides/slide19.xml"/><Relationship Id="rId26" Type="http://schemas.openxmlformats.org/officeDocument/2006/relationships/slide" Target="slides/slide18.xml"/><Relationship Id="rId25" Type="http://schemas.openxmlformats.org/officeDocument/2006/relationships/slide" Target="slides/slide17.xml"/><Relationship Id="rId24" Type="http://schemas.openxmlformats.org/officeDocument/2006/relationships/slide" Target="slides/slide16.xml"/><Relationship Id="rId23" Type="http://schemas.openxmlformats.org/officeDocument/2006/relationships/slide" Target="slides/slide15.xml"/><Relationship Id="rId22" Type="http://schemas.openxmlformats.org/officeDocument/2006/relationships/slide" Target="slides/slide14.xml"/><Relationship Id="rId21" Type="http://schemas.openxmlformats.org/officeDocument/2006/relationships/slide" Target="slides/slide13.xml"/><Relationship Id="rId20" Type="http://schemas.openxmlformats.org/officeDocument/2006/relationships/slide" Target="slides/slide12.xml"/><Relationship Id="rId2" Type="http://schemas.openxmlformats.org/officeDocument/2006/relationships/theme" Target="theme/theme1.xml"/><Relationship Id="rId19" Type="http://schemas.openxmlformats.org/officeDocument/2006/relationships/slide" Target="slides/slide11.xml"/><Relationship Id="rId18" Type="http://schemas.openxmlformats.org/officeDocument/2006/relationships/slide" Target="slides/slide10.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slide" Target="slides/slide2.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Workbook10.xlsx"/></Relationships>
</file>

<file path=ppt/charts/_rels/chart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Workbook11.xlsx"/></Relationships>
</file>

<file path=ppt/charts/_rels/chart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Workbook12.xlsx"/></Relationships>
</file>

<file path=ppt/charts/_rels/chart13.xml.rels><?xml version="1.0" encoding="UTF-8" standalone="yes"?>
<Relationships xmlns="http://schemas.openxmlformats.org/package/2006/relationships"><Relationship Id="rId4" Type="http://schemas.microsoft.com/office/2011/relationships/chartColorStyle" Target="colors13.xml"/><Relationship Id="rId3" Type="http://schemas.microsoft.com/office/2011/relationships/chartStyle" Target="style13.xml"/><Relationship Id="rId2" Type="http://schemas.openxmlformats.org/officeDocument/2006/relationships/themeOverride" Target="../theme/themeOverride2.xml"/><Relationship Id="rId1" Type="http://schemas.openxmlformats.org/officeDocument/2006/relationships/package" Target="../embeddings/Workbook13.xlsx"/></Relationships>
</file>

<file path=ppt/charts/_rels/chart14.xml.rels><?xml version="1.0" encoding="UTF-8" standalone="yes"?>
<Relationships xmlns="http://schemas.openxmlformats.org/package/2006/relationships"><Relationship Id="rId4" Type="http://schemas.microsoft.com/office/2011/relationships/chartColorStyle" Target="colors14.xml"/><Relationship Id="rId3" Type="http://schemas.microsoft.com/office/2011/relationships/chartStyle" Target="style14.xml"/><Relationship Id="rId2" Type="http://schemas.openxmlformats.org/officeDocument/2006/relationships/themeOverride" Target="../theme/themeOverride3.xml"/><Relationship Id="rId1" Type="http://schemas.openxmlformats.org/officeDocument/2006/relationships/package" Target="../embeddings/Workbook14.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Workbook4.xlsx"/></Relationships>
</file>

<file path=ppt/charts/_rels/chart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Workbook6.xlsx"/></Relationships>
</file>

<file path=ppt/charts/_rels/chart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Workbook7.xlsx"/></Relationships>
</file>

<file path=ppt/charts/_rels/chart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Workbook8.xlsx"/></Relationships>
</file>

<file path=ppt/charts/_rels/chart9.xml.rels><?xml version="1.0" encoding="UTF-8" standalone="yes"?>
<Relationships xmlns="http://schemas.openxmlformats.org/package/2006/relationships"><Relationship Id="rId4" Type="http://schemas.microsoft.com/office/2011/relationships/chartColorStyle" Target="colors9.xml"/><Relationship Id="rId3" Type="http://schemas.microsoft.com/office/2011/relationships/chartStyle" Target="style9.xml"/><Relationship Id="rId2" Type="http://schemas.openxmlformats.org/officeDocument/2006/relationships/themeOverride" Target="../theme/themeOverride1.xml"/><Relationship Id="rId1" Type="http://schemas.openxmlformats.org/officeDocument/2006/relationships/package" Target="../embeddings/Workbook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433646202107"/>
          <c:y val="0.0384081274566974"/>
          <c:w val="0.631577927723062"/>
          <c:h val="0.923183745086604"/>
        </c:manualLayout>
      </c:layout>
      <c:doughnutChart>
        <c:varyColors val="1"/>
        <c:ser>
          <c:idx val="0"/>
          <c:order val="0"/>
          <c:tx>
            <c:strRef>
              <c:f>Sheet1!$B$1</c:f>
              <c:strCache>
                <c:ptCount val="1"/>
                <c:pt idx="0">
                  <c:v>销售额</c:v>
                </c:pt>
              </c:strCache>
            </c:strRef>
          </c:tx>
          <c:spPr/>
          <c:explosion val="0"/>
          <c:dPt>
            <c:idx val="0"/>
            <c:bubble3D val="0"/>
            <c:spPr>
              <a:solidFill>
                <a:srgbClr val="29A9C5"/>
              </a:solidFill>
              <a:ln w="19050">
                <a:noFill/>
              </a:ln>
              <a:effectLst/>
            </c:spPr>
          </c:dPt>
          <c:dPt>
            <c:idx val="1"/>
            <c:bubble3D val="0"/>
            <c:spPr>
              <a:noFill/>
              <a:ln w="19050">
                <a:noFill/>
              </a:ln>
              <a:effectLst/>
            </c:spPr>
          </c:dPt>
          <c:dLbls>
            <c:delete val="1"/>
          </c:dLbls>
          <c:cat>
            <c:strRef>
              <c:f>Sheet1!$A$2:$A$3</c:f>
              <c:strCache>
                <c:ptCount val="2"/>
                <c:pt idx="0">
                  <c:v>第一季度</c:v>
                </c:pt>
                <c:pt idx="1">
                  <c:v>第二季度</c:v>
                </c:pt>
              </c:strCache>
            </c:strRef>
          </c:cat>
          <c:val>
            <c:numRef>
              <c:f>Sheet1!$B$2:$B$3</c:f>
              <c:numCache>
                <c:formatCode>0%</c:formatCode>
                <c:ptCount val="2"/>
                <c:pt idx="0">
                  <c:v>0.35</c:v>
                </c:pt>
                <c:pt idx="1" c:formatCode="0.0%">
                  <c:v>0.65</c:v>
                </c:pt>
              </c:numCache>
            </c:numRef>
          </c:val>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zero"/>
    <c:showDLblsOverMax val="0"/>
    <c:extLst>
      <c:ext uri="{0b15fc19-7d7d-44ad-8c2d-2c3a37ce22c3}">
        <chartProps xmlns="https://web.wps.cn/et/2018/main" chartId="{b4177391-0fd1-46b9-8ce0-182c40a869d4}"/>
      </c:ext>
    </c:extLst>
  </c:chart>
  <c:spPr>
    <a:noFill/>
    <a:ln>
      <a:noFill/>
    </a:ln>
    <a:effectLst/>
  </c:spPr>
  <c:txPr>
    <a:bodyPr/>
    <a:lstStyle/>
    <a:p>
      <a:pPr>
        <a:defRPr lang="zh-CN"/>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97678607075524"/>
          <c:y val="0.0648697242270543"/>
          <c:w val="0.871335477431519"/>
          <c:h val="0.798721434072788"/>
        </c:manualLayout>
      </c:layout>
      <c:barChart>
        <c:barDir val="col"/>
        <c:grouping val="clustered"/>
        <c:varyColors val="0"/>
        <c:ser>
          <c:idx val="0"/>
          <c:order val="0"/>
          <c:tx>
            <c:strRef>
              <c:f>Sheet1!$B$1</c:f>
              <c:strCache>
                <c:ptCount val="1"/>
                <c:pt idx="0">
                  <c:v>系列 1</c:v>
                </c:pt>
              </c:strCache>
            </c:strRef>
          </c:tx>
          <c:spPr>
            <a:solidFill>
              <a:srgbClr val="78407F"/>
            </a:solidFill>
            <a:ln>
              <a:noFill/>
            </a:ln>
            <a:effectLst/>
          </c:spPr>
          <c:invertIfNegative val="0"/>
          <c:dLbls>
            <c:dLbl>
              <c:idx val="0"/>
              <c:layout>
                <c:manualLayout>
                  <c:x val="-3.18972653686595e-17"/>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rot="0" spcFirstLastPara="1" vertOverflow="ellipsis" vert="horz" wrap="square" lIns="38100" tIns="19050" rIns="38100" bIns="19050" anchor="ctr" anchorCtr="1"/>
              <a:lstStyle/>
              <a:p>
                <a:pPr>
                  <a:defRPr lang="zh-CN" sz="1200" b="0" i="0" u="none" strike="noStrike" kern="1200" baseline="0">
                    <a:solidFill>
                      <a:schemeClr val="tx1"/>
                    </a:solidFill>
                    <a:latin typeface="Arial" panose="020B0604020202020204" pitchFamily="34" charset="0"/>
                    <a:ea typeface="等线" panose="02010600030101010101" charset="-122"/>
                    <a:cs typeface="Arial" panose="020B0604020202020204" pitchFamily="34" charset="0"/>
                    <a:sym typeface="微软雅黑" panose="020B050302020402020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对≥1种抗真菌药物耐药</c:v>
                </c:pt>
                <c:pt idx="1">
                  <c:v>≥2种唑类耐药</c:v>
                </c:pt>
              </c:strCache>
            </c:strRef>
          </c:cat>
          <c:val>
            <c:numRef>
              <c:f>Sheet1!$B$2:$B$3</c:f>
              <c:numCache>
                <c:formatCode>0.00%</c:formatCode>
                <c:ptCount val="2"/>
                <c:pt idx="0">
                  <c:v>0.49</c:v>
                </c:pt>
                <c:pt idx="1">
                  <c:v>0.12</c:v>
                </c:pt>
              </c:numCache>
            </c:numRef>
          </c:val>
        </c:ser>
        <c:dLbls>
          <c:showLegendKey val="0"/>
          <c:showVal val="0"/>
          <c:showCatName val="0"/>
          <c:showSerName val="0"/>
          <c:showPercent val="0"/>
          <c:showBubbleSize val="0"/>
        </c:dLbls>
        <c:gapWidth val="200"/>
        <c:overlap val="-27"/>
        <c:axId val="194360064"/>
        <c:axId val="194361600"/>
      </c:barChart>
      <c:catAx>
        <c:axId val="1943600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200"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crossAx val="194361600"/>
        <c:crosses val="autoZero"/>
        <c:auto val="1"/>
        <c:lblAlgn val="ctr"/>
        <c:lblOffset val="100"/>
        <c:noMultiLvlLbl val="0"/>
      </c:catAx>
      <c:valAx>
        <c:axId val="194361600"/>
        <c:scaling>
          <c:orientation val="minMax"/>
          <c:max val="0.5"/>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100" b="0" i="0" u="none" strike="noStrike" kern="1200" baseline="0">
                <a:solidFill>
                  <a:schemeClr val="tx1"/>
                </a:solidFill>
                <a:latin typeface="Times New Roman" panose="02020603050405020304" pitchFamily="18" charset="0"/>
                <a:ea typeface="等线" panose="02010600030101010101" charset="-122"/>
                <a:cs typeface="Times New Roman" panose="02020603050405020304" pitchFamily="18" charset="0"/>
                <a:sym typeface="微软雅黑" panose="020B0503020204020204" charset="-122"/>
              </a:defRPr>
            </a:pPr>
          </a:p>
        </c:txPr>
        <c:crossAx val="194360064"/>
        <c:crosses val="autoZero"/>
        <c:crossBetween val="between"/>
        <c:majorUnit val="0.1"/>
      </c:valAx>
      <c:spPr>
        <a:noFill/>
        <a:ln>
          <a:noFill/>
        </a:ln>
        <a:effectLst/>
      </c:spPr>
    </c:plotArea>
    <c:plotVisOnly val="1"/>
    <c:dispBlanksAs val="gap"/>
    <c:showDLblsOverMax val="0"/>
    <c:extLst>
      <c:ext uri="{0b15fc19-7d7d-44ad-8c2d-2c3a37ce22c3}">
        <chartProps xmlns="https://web.wps.cn/et/2018/main" chartId="{1c6f91f5-2181-4c6f-8ab9-e237aae3cdf9}"/>
      </c:ext>
    </c:extLst>
  </c:chart>
  <c:spPr>
    <a:noFill/>
    <a:ln>
      <a:noFill/>
    </a:ln>
    <a:effectLst/>
  </c:spPr>
  <c:txPr>
    <a:bodyPr/>
    <a:lstStyle/>
    <a:p>
      <a:pPr>
        <a:defRPr lang="zh-CN" sz="1200">
          <a:solidFill>
            <a:schemeClr val="tx1"/>
          </a:solidFill>
          <a:latin typeface="Arial" panose="020B0604020202020204" pitchFamily="34" charset="0"/>
          <a:ea typeface="等线" panose="02010600030101010101" charset="-122"/>
          <a:cs typeface="Arial" panose="020B0604020202020204" pitchFamily="34" charset="0"/>
          <a:sym typeface="微软雅黑" panose="020B0503020204020204" charset="-122"/>
        </a:defRPr>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rgbClr val="95358C"/>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住院患者
DILI</c:v>
                </c:pt>
                <c:pt idx="1">
                  <c:v>急性肝损伤
中DILI比例</c:v>
                </c:pt>
                <c:pt idx="2">
                  <c:v>急性肝
衰竭中DILI比例</c:v>
                </c:pt>
              </c:strCache>
            </c:strRef>
          </c:cat>
          <c:val>
            <c:numRef>
              <c:f>Sheet1!$B$2:$B$4</c:f>
              <c:numCache>
                <c:formatCode>0%</c:formatCode>
                <c:ptCount val="3"/>
                <c:pt idx="0">
                  <c:v>0.06</c:v>
                </c:pt>
                <c:pt idx="1">
                  <c:v>0.2</c:v>
                </c:pt>
                <c:pt idx="2">
                  <c:v>0.5</c:v>
                </c:pt>
              </c:numCache>
            </c:numRef>
          </c:val>
        </c:ser>
        <c:dLbls>
          <c:showLegendKey val="0"/>
          <c:showVal val="0"/>
          <c:showCatName val="0"/>
          <c:showSerName val="0"/>
          <c:showPercent val="0"/>
          <c:showBubbleSize val="0"/>
        </c:dLbls>
        <c:gapWidth val="219"/>
        <c:overlap val="-27"/>
        <c:axId val="194762624"/>
        <c:axId val="194764160"/>
      </c:barChart>
      <c:catAx>
        <c:axId val="194762624"/>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crossAx val="194764160"/>
        <c:crosses val="autoZero"/>
        <c:auto val="1"/>
        <c:lblAlgn val="ctr"/>
        <c:lblOffset val="100"/>
        <c:noMultiLvlLbl val="0"/>
      </c:catAx>
      <c:valAx>
        <c:axId val="194764160"/>
        <c:scaling>
          <c:orientation val="minMax"/>
        </c:scaling>
        <c:delete val="0"/>
        <c:axPos val="l"/>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crossAx val="194762624"/>
        <c:crosses val="autoZero"/>
        <c:crossBetween val="between"/>
      </c:valAx>
      <c:spPr>
        <a:noFill/>
        <a:ln>
          <a:noFill/>
        </a:ln>
        <a:effectLst/>
      </c:spPr>
    </c:plotArea>
    <c:plotVisOnly val="1"/>
    <c:dispBlanksAs val="gap"/>
    <c:showDLblsOverMax val="0"/>
    <c:extLst>
      <c:ext uri="{0b15fc19-7d7d-44ad-8c2d-2c3a37ce22c3}">
        <chartProps xmlns="https://web.wps.cn/et/2018/main" chartId="{1304cb73-12b0-4fe4-9cef-9bd96fd06629}"/>
      </c:ext>
    </c:extLst>
  </c:chart>
  <c:spPr>
    <a:noFill/>
    <a:ln>
      <a:noFill/>
    </a:ln>
    <a:effectLst/>
  </c:spPr>
  <c:txPr>
    <a:bodyPr/>
    <a:lstStyle/>
    <a:p>
      <a:pPr>
        <a:defRPr lang="zh-CN">
          <a:latin typeface="Arial" panose="020B0604020202020204" pitchFamily="34" charset="0"/>
          <a:ea typeface="微软雅黑" panose="020B0503020204020204" charset="-122"/>
        </a:defRPr>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rgbClr val="95358C"/>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慢性肺病</c:v>
                </c:pt>
                <c:pt idx="1">
                  <c:v>心脏功能异常</c:v>
                </c:pt>
                <c:pt idx="2">
                  <c:v>肾功能异常</c:v>
                </c:pt>
                <c:pt idx="3">
                  <c:v>肝功能异常</c:v>
                </c:pt>
              </c:strCache>
            </c:strRef>
          </c:cat>
          <c:val>
            <c:numRef>
              <c:f>Sheet1!$B$2:$B$5</c:f>
              <c:numCache>
                <c:formatCode>0%</c:formatCode>
                <c:ptCount val="4"/>
                <c:pt idx="0">
                  <c:v>0.24</c:v>
                </c:pt>
                <c:pt idx="1">
                  <c:v>0.2</c:v>
                </c:pt>
                <c:pt idx="2">
                  <c:v>0.2</c:v>
                </c:pt>
                <c:pt idx="3">
                  <c:v>0.18</c:v>
                </c:pt>
              </c:numCache>
            </c:numRef>
          </c:val>
        </c:ser>
        <c:dLbls>
          <c:showLegendKey val="0"/>
          <c:showVal val="0"/>
          <c:showCatName val="0"/>
          <c:showSerName val="0"/>
          <c:showPercent val="0"/>
          <c:showBubbleSize val="0"/>
        </c:dLbls>
        <c:gapWidth val="219"/>
        <c:overlap val="-27"/>
        <c:axId val="194960000"/>
        <c:axId val="194965888"/>
      </c:barChart>
      <c:catAx>
        <c:axId val="194960000"/>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Arial" panose="020B0604020202020204" pitchFamily="34" charset="0"/>
                <a:ea typeface="微软雅黑" panose="020B0503020204020204" charset="-122"/>
                <a:cs typeface="+mn-cs"/>
              </a:defRPr>
            </a:pPr>
          </a:p>
        </c:txPr>
        <c:crossAx val="194965888"/>
        <c:crosses val="autoZero"/>
        <c:auto val="1"/>
        <c:lblAlgn val="ctr"/>
        <c:lblOffset val="100"/>
        <c:noMultiLvlLbl val="0"/>
      </c:catAx>
      <c:valAx>
        <c:axId val="194965888"/>
        <c:scaling>
          <c:orientation val="minMax"/>
        </c:scaling>
        <c:delete val="0"/>
        <c:axPos val="l"/>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crossAx val="194960000"/>
        <c:crosses val="autoZero"/>
        <c:crossBetween val="between"/>
      </c:valAx>
      <c:spPr>
        <a:noFill/>
        <a:ln>
          <a:noFill/>
        </a:ln>
        <a:effectLst/>
      </c:spPr>
    </c:plotArea>
    <c:plotVisOnly val="1"/>
    <c:dispBlanksAs val="gap"/>
    <c:showDLblsOverMax val="0"/>
    <c:extLst>
      <c:ext uri="{0b15fc19-7d7d-44ad-8c2d-2c3a37ce22c3}">
        <chartProps xmlns="https://web.wps.cn/et/2018/main" chartId="{3b3e9e95-989a-4c43-88d6-27a389744e77}"/>
      </c:ext>
    </c:extLst>
  </c:chart>
  <c:spPr>
    <a:noFill/>
    <a:ln>
      <a:noFill/>
    </a:ln>
    <a:effectLst/>
  </c:spPr>
  <c:txPr>
    <a:bodyPr/>
    <a:lstStyle/>
    <a:p>
      <a:pPr>
        <a:defRPr lang="zh-CN">
          <a:latin typeface="Arial" panose="020B0604020202020204" pitchFamily="34" charset="0"/>
          <a:ea typeface="微软雅黑" panose="020B0503020204020204" charset="-122"/>
        </a:defRPr>
      </a:pP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769408630632"/>
          <c:y val="0.136334242735748"/>
          <c:w val="0.822743982885853"/>
          <c:h val="0.768122230354572"/>
        </c:manualLayout>
      </c:layout>
      <c:barChart>
        <c:barDir val="col"/>
        <c:grouping val="clustered"/>
        <c:varyColors val="0"/>
        <c:ser>
          <c:idx val="0"/>
          <c:order val="0"/>
          <c:tx>
            <c:strRef>
              <c:f>Sheet1!$B$1</c:f>
              <c:strCache>
                <c:ptCount val="1"/>
                <c:pt idx="0">
                  <c:v>系列 1</c:v>
                </c:pt>
              </c:strCache>
            </c:strRef>
          </c:tx>
          <c:spPr>
            <a:solidFill>
              <a:sysClr val="window" lastClr="FFFFFF">
                <a:lumMod val="65000"/>
              </a:sysClr>
            </a:solidFill>
            <a:ln>
              <a:noFill/>
            </a:ln>
            <a:effectLst/>
          </c:spPr>
          <c:invertIfNegative val="0"/>
          <c:dPt>
            <c:idx val="0"/>
            <c:invertIfNegative val="0"/>
            <c:bubble3D val="0"/>
            <c:spPr>
              <a:solidFill>
                <a:srgbClr val="9E4294"/>
              </a:solidFill>
              <a:ln>
                <a:noFill/>
              </a:ln>
              <a:effectLst/>
            </c:spPr>
          </c:dPt>
          <c:dLbls>
            <c:numFmt formatCode="0.00%" sourceLinked="0"/>
            <c:spPr>
              <a:noFill/>
              <a:ln>
                <a:noFill/>
              </a:ln>
              <a:effectLst/>
            </c:spPr>
            <c:txPr>
              <a:bodyPr rot="0" spcFirstLastPara="1" vertOverflow="ellipsis" vert="horz" wrap="square" lIns="38100" tIns="19050" rIns="38100" bIns="19050" anchor="ctr" anchorCtr="1"/>
              <a:lstStyle/>
              <a:p>
                <a:pPr>
                  <a:defRPr lang="zh-CN" sz="1400" b="1"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艾沙康唑</c:v>
                </c:pt>
                <c:pt idx="1">
                  <c:v>伏立康唑</c:v>
                </c:pt>
              </c:strCache>
            </c:strRef>
          </c:cat>
          <c:val>
            <c:numRef>
              <c:f>Sheet1!$B$2:$B$3</c:f>
              <c:numCache>
                <c:formatCode>0%</c:formatCode>
                <c:ptCount val="2"/>
                <c:pt idx="0">
                  <c:v>0.0163</c:v>
                </c:pt>
                <c:pt idx="1">
                  <c:v>0.3245</c:v>
                </c:pt>
              </c:numCache>
            </c:numRef>
          </c:val>
        </c:ser>
        <c:dLbls>
          <c:showLegendKey val="0"/>
          <c:showVal val="0"/>
          <c:showCatName val="0"/>
          <c:showSerName val="0"/>
          <c:showPercent val="0"/>
          <c:showBubbleSize val="0"/>
        </c:dLbls>
        <c:gapWidth val="219"/>
        <c:overlap val="-27"/>
        <c:axId val="197609728"/>
        <c:axId val="197615616"/>
      </c:barChart>
      <c:catAx>
        <c:axId val="197609728"/>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crossAx val="197615616"/>
        <c:crosses val="autoZero"/>
        <c:auto val="1"/>
        <c:lblAlgn val="ctr"/>
        <c:lblOffset val="100"/>
        <c:noMultiLvlLbl val="0"/>
      </c:catAx>
      <c:valAx>
        <c:axId val="197615616"/>
        <c:scaling>
          <c:orientation val="minMax"/>
        </c:scaling>
        <c:delete val="0"/>
        <c:axPos val="l"/>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400"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crossAx val="197609728"/>
        <c:crosses val="autoZero"/>
        <c:crossBetween val="between"/>
      </c:valAx>
      <c:spPr>
        <a:noFill/>
        <a:ln>
          <a:noFill/>
        </a:ln>
        <a:effectLst/>
      </c:spPr>
    </c:plotArea>
    <c:plotVisOnly val="1"/>
    <c:dispBlanksAs val="gap"/>
    <c:showDLblsOverMax val="0"/>
    <c:extLst>
      <c:ext uri="{0b15fc19-7d7d-44ad-8c2d-2c3a37ce22c3}">
        <chartProps xmlns="https://web.wps.cn/et/2018/main" chartId="{c168d218-791b-446b-9ddd-e95503d8d4f3}"/>
      </c:ext>
    </c:extLst>
  </c:chart>
  <c:spPr>
    <a:noFill/>
    <a:ln>
      <a:noFill/>
    </a:ln>
    <a:effectLst/>
  </c:spPr>
  <c:txPr>
    <a:bodyPr/>
    <a:lstStyle/>
    <a:p>
      <a:pPr>
        <a:defRPr lang="zh-CN">
          <a:latin typeface="微软雅黑" panose="020B0503020204020204" charset="-122"/>
          <a:ea typeface="微软雅黑" panose="020B0503020204020204" charset="-122"/>
          <a:sym typeface="微软雅黑" panose="020B0503020204020204" charset="-122"/>
        </a:defRPr>
      </a:pP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917345745592268"/>
          <c:y val="0.0447286027613846"/>
          <c:w val="0.894700204893822"/>
          <c:h val="0.842506682924821"/>
        </c:manualLayout>
      </c:layout>
      <c:barChart>
        <c:barDir val="col"/>
        <c:grouping val="clustered"/>
        <c:varyColors val="0"/>
        <c:ser>
          <c:idx val="0"/>
          <c:order val="0"/>
          <c:tx>
            <c:strRef>
              <c:f>Sheet1!$B$1</c:f>
              <c:strCache>
                <c:ptCount val="1"/>
                <c:pt idx="0">
                  <c:v>临床应答率SUCRA值</c:v>
                </c:pt>
              </c:strCache>
            </c:strRef>
          </c:tx>
          <c:spPr>
            <a:solidFill>
              <a:srgbClr val="9E4294"/>
            </a:solidFill>
            <a:ln>
              <a:noFill/>
            </a:ln>
            <a:effectLst>
              <a:outerShdw blurRad="50800" dist="38100" dir="5400000" algn="t" rotWithShape="0">
                <a:prstClr val="black">
                  <a:alpha val="40000"/>
                </a:prstClr>
              </a:outerShdw>
            </a:effectLst>
          </c:spPr>
          <c:invertIfNegative val="0"/>
          <c:dLbls>
            <c:dLbl>
              <c:idx val="0"/>
              <c:layout/>
              <c:numFmt formatCode="0.0%" sourceLinked="0"/>
              <c:spPr>
                <a:noFill/>
                <a:ln>
                  <a:noFill/>
                </a:ln>
                <a:effectLst/>
              </c:spPr>
              <c:txPr>
                <a:bodyPr rot="0" spcFirstLastPara="1" vertOverflow="ellipsis" vert="horz" wrap="square" lIns="38100" tIns="19050" rIns="38100" bIns="19050" anchor="ctr" anchorCtr="1"/>
                <a:lstStyle/>
                <a:p>
                  <a:pPr>
                    <a:defRPr lang="zh-CN" sz="1400" b="1"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艾沙康唑</c:v>
                </c:pt>
                <c:pt idx="1">
                  <c:v>伏立康唑</c:v>
                </c:pt>
                <c:pt idx="2">
                  <c:v>泊沙康唑</c:v>
                </c:pt>
                <c:pt idx="3">
                  <c:v>ABCD</c:v>
                </c:pt>
                <c:pt idx="4">
                  <c:v>ABLC</c:v>
                </c:pt>
                <c:pt idx="5">
                  <c:v>L-AmB</c:v>
                </c:pt>
                <c:pt idx="6">
                  <c:v>卡泊芬净</c:v>
                </c:pt>
                <c:pt idx="7">
                  <c:v>AmB</c:v>
                </c:pt>
              </c:strCache>
            </c:strRef>
          </c:cat>
          <c:val>
            <c:numRef>
              <c:f>Sheet1!$B$2:$B$9</c:f>
              <c:numCache>
                <c:formatCode>0.00%</c:formatCode>
                <c:ptCount val="8"/>
                <c:pt idx="0">
                  <c:v>0.779</c:v>
                </c:pt>
                <c:pt idx="1">
                  <c:v>0.592</c:v>
                </c:pt>
                <c:pt idx="2">
                  <c:v>0.565</c:v>
                </c:pt>
                <c:pt idx="3">
                  <c:v>0.471</c:v>
                </c:pt>
                <c:pt idx="4">
                  <c:v>0.387</c:v>
                </c:pt>
                <c:pt idx="5">
                  <c:v>0.352</c:v>
                </c:pt>
                <c:pt idx="6">
                  <c:v>0.324</c:v>
                </c:pt>
                <c:pt idx="7">
                  <c:v>0.177</c:v>
                </c:pt>
              </c:numCache>
            </c:numRef>
          </c:val>
        </c:ser>
        <c:ser>
          <c:idx val="1"/>
          <c:order val="1"/>
          <c:tx>
            <c:strRef>
              <c:f>Sheet1!$C$1</c:f>
              <c:strCache>
                <c:ptCount val="1"/>
                <c:pt idx="0">
                  <c:v>降低病死率幅度SUCRA值</c:v>
                </c:pt>
              </c:strCache>
            </c:strRef>
          </c:tx>
          <c:spPr>
            <a:solidFill>
              <a:srgbClr val="D4ADD0"/>
            </a:solidFill>
            <a:ln>
              <a:noFill/>
            </a:ln>
            <a:effectLst>
              <a:outerShdw blurRad="50800" dist="38100" dir="5400000" algn="t" rotWithShape="0">
                <a:prstClr val="black">
                  <a:alpha val="40000"/>
                </a:prstClr>
              </a:outerShdw>
            </a:effectLst>
          </c:spPr>
          <c:invertIfNegative val="0"/>
          <c:dLbls>
            <c:dLbl>
              <c:idx val="0"/>
              <c:layout/>
              <c:numFmt formatCode="0.0%" sourceLinked="0"/>
              <c:spPr>
                <a:noFill/>
                <a:ln>
                  <a:noFill/>
                </a:ln>
                <a:effectLst/>
              </c:spPr>
              <c:txPr>
                <a:bodyPr rot="0" spcFirstLastPara="1" vertOverflow="ellipsis" vert="horz" wrap="square" lIns="38100" tIns="19050" rIns="38100" bIns="19050" anchor="ctr" anchorCtr="1"/>
                <a:lstStyle/>
                <a:p>
                  <a:pPr>
                    <a:defRPr lang="zh-CN" sz="1400" b="1"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艾沙康唑</c:v>
                </c:pt>
                <c:pt idx="1">
                  <c:v>伏立康唑</c:v>
                </c:pt>
                <c:pt idx="2">
                  <c:v>泊沙康唑</c:v>
                </c:pt>
                <c:pt idx="3">
                  <c:v>ABCD</c:v>
                </c:pt>
                <c:pt idx="4">
                  <c:v>ABLC</c:v>
                </c:pt>
                <c:pt idx="5">
                  <c:v>L-AmB</c:v>
                </c:pt>
                <c:pt idx="6">
                  <c:v>卡泊芬净</c:v>
                </c:pt>
                <c:pt idx="7">
                  <c:v>AmB</c:v>
                </c:pt>
              </c:strCache>
            </c:strRef>
          </c:cat>
          <c:val>
            <c:numRef>
              <c:f>Sheet1!$C$2:$C$9</c:f>
              <c:numCache>
                <c:formatCode>0.00%</c:formatCode>
                <c:ptCount val="8"/>
                <c:pt idx="0">
                  <c:v>0.691</c:v>
                </c:pt>
                <c:pt idx="1">
                  <c:v>0.577</c:v>
                </c:pt>
                <c:pt idx="2">
                  <c:v>0.484</c:v>
                </c:pt>
                <c:pt idx="3">
                  <c:v>0.358</c:v>
                </c:pt>
                <c:pt idx="4" c:formatCode="0%">
                  <c:v>0.4</c:v>
                </c:pt>
                <c:pt idx="5">
                  <c:v>0.368</c:v>
                </c:pt>
                <c:pt idx="6">
                  <c:v>0.129</c:v>
                </c:pt>
                <c:pt idx="7" c:formatCode="0%">
                  <c:v>0.15</c:v>
                </c:pt>
              </c:numCache>
            </c:numRef>
          </c:val>
        </c:ser>
        <c:dLbls>
          <c:showLegendKey val="0"/>
          <c:showVal val="0"/>
          <c:showCatName val="0"/>
          <c:showSerName val="0"/>
          <c:showPercent val="0"/>
          <c:showBubbleSize val="0"/>
        </c:dLbls>
        <c:gapWidth val="100"/>
        <c:overlap val="-27"/>
        <c:axId val="197630208"/>
        <c:axId val="197779456"/>
      </c:barChart>
      <c:catAx>
        <c:axId val="197630208"/>
        <c:scaling>
          <c:orientation val="minMax"/>
        </c:scaling>
        <c:delete val="0"/>
        <c:axPos val="b"/>
        <c:numFmt formatCode="General" sourceLinked="1"/>
        <c:majorTickMark val="in"/>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crossAx val="197779456"/>
        <c:crosses val="autoZero"/>
        <c:auto val="1"/>
        <c:lblAlgn val="ctr"/>
        <c:lblOffset val="100"/>
        <c:noMultiLvlLbl val="0"/>
      </c:catAx>
      <c:valAx>
        <c:axId val="197779456"/>
        <c:scaling>
          <c:orientation val="minMax"/>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r>
                  <a:rPr lang="en-US">
                    <a:latin typeface="Times New Roman" panose="02020603050405020304" pitchFamily="18" charset="0"/>
                    <a:ea typeface="微软雅黑" panose="020B0503020204020204" charset="-122"/>
                    <a:cs typeface="Times New Roman" panose="02020603050405020304" pitchFamily="18" charset="0"/>
                  </a:rPr>
                  <a:t>SUCRA</a:t>
                </a:r>
                <a:r>
                  <a:rPr lang="zh-CN">
                    <a:latin typeface="Times New Roman" panose="02020603050405020304" pitchFamily="18" charset="0"/>
                    <a:ea typeface="微软雅黑" panose="020B0503020204020204" charset="-122"/>
                    <a:cs typeface="Times New Roman" panose="02020603050405020304" pitchFamily="18" charset="0"/>
                  </a:rPr>
                  <a:t>值</a:t>
                </a:r>
                <a:endParaRPr lang="zh-CN">
                  <a:latin typeface="Times New Roman" panose="02020603050405020304" pitchFamily="18" charset="0"/>
                  <a:ea typeface="微软雅黑" panose="020B0503020204020204" charset="-122"/>
                  <a:cs typeface="Times New Roman" panose="02020603050405020304" pitchFamily="18" charset="0"/>
                </a:endParaRPr>
              </a:p>
            </c:rich>
          </c:tx>
          <c:layout/>
          <c:overlay val="0"/>
          <c:spPr>
            <a:noFill/>
            <a:ln>
              <a:noFill/>
            </a:ln>
            <a:effectLst/>
          </c:spPr>
        </c:title>
        <c:numFmt formatCode="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lang="zh-CN" sz="1200"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crossAx val="197630208"/>
        <c:crosses val="autoZero"/>
        <c:crossBetween val="between"/>
      </c:valAx>
      <c:spPr>
        <a:noFill/>
        <a:ln>
          <a:noFill/>
        </a:ln>
        <a:effectLst/>
      </c:spPr>
    </c:plotArea>
    <c:legend>
      <c:legendPos val="t"/>
      <c:layout>
        <c:manualLayout>
          <c:xMode val="edge"/>
          <c:yMode val="edge"/>
          <c:x val="0.299862299821218"/>
          <c:y val="0.022728804792974"/>
          <c:w val="0.438922743352733"/>
          <c:h val="0.112287752634245"/>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defRPr>
          </a:pPr>
        </a:p>
      </c:txPr>
    </c:legend>
    <c:plotVisOnly val="1"/>
    <c:dispBlanksAs val="gap"/>
    <c:showDLblsOverMax val="0"/>
    <c:extLst>
      <c:ext uri="{0b15fc19-7d7d-44ad-8c2d-2c3a37ce22c3}">
        <chartProps xmlns="https://web.wps.cn/et/2018/main" chartId="{220b6bb0-c0f3-44d3-b7e3-702b0a186280}"/>
      </c:ext>
    </c:extLst>
  </c:chart>
  <c:spPr>
    <a:noFill/>
    <a:ln>
      <a:noFill/>
    </a:ln>
    <a:effectLst/>
  </c:spPr>
  <c:txPr>
    <a:bodyPr/>
    <a:lstStyle/>
    <a:p>
      <a:pPr>
        <a:defRPr lang="zh-CN">
          <a:latin typeface="微软雅黑" panose="020B0503020204020204" charset="-122"/>
          <a:ea typeface="微软雅黑" panose="020B0503020204020204" charset="-122"/>
          <a:sym typeface="微软雅黑" panose="020B0503020204020204" charset="-122"/>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c:explosion val="0"/>
          <c:dPt>
            <c:idx val="0"/>
            <c:bubble3D val="0"/>
            <c:spPr>
              <a:solidFill>
                <a:srgbClr val="F2F2F2"/>
              </a:solidFill>
              <a:ln w="19050">
                <a:solidFill>
                  <a:schemeClr val="lt1"/>
                </a:solidFill>
              </a:ln>
              <a:effectLst/>
            </c:spPr>
          </c:dPt>
          <c:dPt>
            <c:idx val="1"/>
            <c:bubble3D val="0"/>
            <c:spPr>
              <a:solidFill>
                <a:srgbClr val="29A9C5"/>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elete val="1"/>
          </c:dLbls>
          <c:cat>
            <c:strRef>
              <c:f>Sheet1!$A$2:$A$5</c:f>
              <c:strCache>
                <c:ptCount val="2"/>
                <c:pt idx="0">
                  <c:v>第一季度</c:v>
                </c:pt>
                <c:pt idx="1">
                  <c:v>第二季度</c:v>
                </c:pt>
              </c:strCache>
            </c:strRef>
          </c:cat>
          <c:val>
            <c:numRef>
              <c:f>Sheet1!$B$2:$B$5</c:f>
              <c:numCache>
                <c:formatCode>General</c:formatCode>
                <c:ptCount val="4"/>
                <c:pt idx="0">
                  <c:v>64</c:v>
                </c:pt>
                <c:pt idx="1">
                  <c:v>36</c:v>
                </c:pt>
              </c:numCache>
            </c:numRef>
          </c:val>
        </c:ser>
        <c:dLbls>
          <c:showLegendKey val="0"/>
          <c:showVal val="0"/>
          <c:showCatName val="0"/>
          <c:showSerName val="0"/>
          <c:showPercent val="0"/>
          <c:showBubbleSize val="0"/>
          <c:showLeaderLines val="1"/>
        </c:dLbls>
        <c:firstSliceAng val="105"/>
        <c:holeSize val="75"/>
      </c:doughnutChart>
      <c:spPr>
        <a:noFill/>
        <a:ln>
          <a:noFill/>
        </a:ln>
        <a:effectLst/>
      </c:spPr>
    </c:plotArea>
    <c:plotVisOnly val="1"/>
    <c:dispBlanksAs val="zero"/>
    <c:showDLblsOverMax val="0"/>
    <c:extLst>
      <c:ext uri="{0b15fc19-7d7d-44ad-8c2d-2c3a37ce22c3}">
        <chartProps xmlns="https://web.wps.cn/et/2018/main" chartId="{39c60579-0fc8-4f75-80e9-00511d4d45c5}"/>
      </c:ext>
    </c:extLst>
  </c:chart>
  <c:spPr>
    <a:noFill/>
    <a:ln>
      <a:noFill/>
    </a:ln>
    <a:effectLst/>
  </c:spPr>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c:explosion val="0"/>
          <c:dPt>
            <c:idx val="0"/>
            <c:bubble3D val="0"/>
            <c:spPr>
              <a:solidFill>
                <a:srgbClr val="F2F2F2"/>
              </a:solidFill>
              <a:ln w="19050">
                <a:solidFill>
                  <a:schemeClr val="lt1"/>
                </a:solidFill>
              </a:ln>
              <a:effectLst/>
            </c:spPr>
          </c:dPt>
          <c:dPt>
            <c:idx val="1"/>
            <c:bubble3D val="0"/>
            <c:spPr>
              <a:solidFill>
                <a:srgbClr val="29A9C5"/>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elete val="1"/>
          </c:dLbls>
          <c:cat>
            <c:strRef>
              <c:f>Sheet1!$A$2:$A$5</c:f>
              <c:strCache>
                <c:ptCount val="2"/>
                <c:pt idx="0">
                  <c:v>第一季度</c:v>
                </c:pt>
                <c:pt idx="1">
                  <c:v>第二季度</c:v>
                </c:pt>
              </c:strCache>
            </c:strRef>
          </c:cat>
          <c:val>
            <c:numRef>
              <c:f>Sheet1!$B$2:$B$5</c:f>
              <c:numCache>
                <c:formatCode>General</c:formatCode>
                <c:ptCount val="4"/>
                <c:pt idx="0">
                  <c:v>74</c:v>
                </c:pt>
                <c:pt idx="1">
                  <c:v>26</c:v>
                </c:pt>
              </c:numCache>
            </c:numRef>
          </c:val>
        </c:ser>
        <c:dLbls>
          <c:showLegendKey val="0"/>
          <c:showVal val="0"/>
          <c:showCatName val="0"/>
          <c:showSerName val="0"/>
          <c:showPercent val="0"/>
          <c:showBubbleSize val="0"/>
          <c:showLeaderLines val="1"/>
        </c:dLbls>
        <c:firstSliceAng val="105"/>
        <c:holeSize val="75"/>
      </c:doughnutChart>
      <c:spPr>
        <a:noFill/>
        <a:ln>
          <a:noFill/>
        </a:ln>
        <a:effectLst/>
      </c:spPr>
    </c:plotArea>
    <c:plotVisOnly val="1"/>
    <c:dispBlanksAs val="zero"/>
    <c:showDLblsOverMax val="0"/>
    <c:extLst>
      <c:ext uri="{0b15fc19-7d7d-44ad-8c2d-2c3a37ce22c3}">
        <chartProps xmlns="https://web.wps.cn/et/2018/main" chartId="{65974e50-041b-40e6-afcf-37abf1edf0b2}"/>
      </c:ext>
    </c:extLst>
  </c:chart>
  <c:spPr>
    <a:noFill/>
    <a:ln>
      <a:noFill/>
    </a:ln>
    <a:effectLst/>
  </c:spPr>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c:explosion val="0"/>
          <c:dPt>
            <c:idx val="0"/>
            <c:bubble3D val="0"/>
            <c:spPr>
              <a:solidFill>
                <a:srgbClr val="F2F2F2"/>
              </a:solidFill>
              <a:ln w="19050">
                <a:solidFill>
                  <a:schemeClr val="lt1"/>
                </a:solidFill>
              </a:ln>
              <a:effectLst/>
            </c:spPr>
          </c:dPt>
          <c:dPt>
            <c:idx val="1"/>
            <c:bubble3D val="0"/>
            <c:spPr>
              <a:solidFill>
                <a:srgbClr val="29A9C5"/>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elete val="1"/>
          </c:dLbls>
          <c:cat>
            <c:strRef>
              <c:f>Sheet1!$A$2:$A$5</c:f>
              <c:strCache>
                <c:ptCount val="2"/>
                <c:pt idx="0">
                  <c:v>第一季度</c:v>
                </c:pt>
                <c:pt idx="1">
                  <c:v>第二季度</c:v>
                </c:pt>
              </c:strCache>
            </c:strRef>
          </c:cat>
          <c:val>
            <c:numRef>
              <c:f>Sheet1!$B$2:$B$5</c:f>
              <c:numCache>
                <c:formatCode>General</c:formatCode>
                <c:ptCount val="4"/>
                <c:pt idx="0">
                  <c:v>87</c:v>
                </c:pt>
                <c:pt idx="1">
                  <c:v>13</c:v>
                </c:pt>
              </c:numCache>
            </c:numRef>
          </c:val>
        </c:ser>
        <c:dLbls>
          <c:showLegendKey val="0"/>
          <c:showVal val="0"/>
          <c:showCatName val="0"/>
          <c:showSerName val="0"/>
          <c:showPercent val="0"/>
          <c:showBubbleSize val="0"/>
          <c:showLeaderLines val="1"/>
        </c:dLbls>
        <c:firstSliceAng val="105"/>
        <c:holeSize val="75"/>
      </c:doughnutChart>
      <c:spPr>
        <a:noFill/>
        <a:ln>
          <a:noFill/>
        </a:ln>
        <a:effectLst/>
      </c:spPr>
    </c:plotArea>
    <c:plotVisOnly val="1"/>
    <c:dispBlanksAs val="zero"/>
    <c:showDLblsOverMax val="0"/>
    <c:extLst>
      <c:ext uri="{0b15fc19-7d7d-44ad-8c2d-2c3a37ce22c3}">
        <chartProps xmlns="https://web.wps.cn/et/2018/main" chartId="{3db7371b-5026-43d6-8200-a1e90a830a7d}"/>
      </c:ext>
    </c:extLst>
  </c:chart>
  <c:spPr>
    <a:noFill/>
    <a:ln>
      <a:noFill/>
    </a:ln>
    <a:effectLst/>
  </c:spPr>
  <c:txPr>
    <a:bodyPr/>
    <a:lstStyle/>
    <a:p>
      <a:pPr>
        <a:defRPr lang="zh-CN"/>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912922974516038"/>
          <c:y val="0.077024229275272"/>
          <c:w val="0.710988801500658"/>
          <c:h val="0.77728750106825"/>
        </c:manualLayout>
      </c:layout>
      <c:lineChart>
        <c:grouping val="standard"/>
        <c:varyColors val="0"/>
        <c:ser>
          <c:idx val="0"/>
          <c:order val="0"/>
          <c:tx>
            <c:strRef>
              <c:f>Sheet1!$B$1</c:f>
              <c:strCache>
                <c:ptCount val="1"/>
                <c:pt idx="0">
                  <c:v>肺曲霉病</c:v>
                </c:pt>
              </c:strCache>
            </c:strRef>
          </c:tx>
          <c:spPr>
            <a:ln w="28575" cap="rnd">
              <a:solidFill>
                <a:srgbClr val="C00000"/>
              </a:solidFill>
              <a:round/>
            </a:ln>
            <a:effectLst/>
          </c:spPr>
          <c:marker>
            <c:symbol val="none"/>
          </c:marker>
          <c:dLbls>
            <c:delete val="1"/>
          </c:dLbls>
          <c:cat>
            <c:numRef>
              <c:f>Sheet1!$A$2:$A$8</c:f>
              <c:numCache>
                <c:formatCode>General</c:formatCode>
                <c:ptCount val="7"/>
                <c:pt idx="0">
                  <c:v>2013</c:v>
                </c:pt>
                <c:pt idx="1">
                  <c:v>2014</c:v>
                </c:pt>
                <c:pt idx="2">
                  <c:v>2015</c:v>
                </c:pt>
                <c:pt idx="3">
                  <c:v>2016</c:v>
                </c:pt>
                <c:pt idx="4">
                  <c:v>2017</c:v>
                </c:pt>
                <c:pt idx="5">
                  <c:v>2018</c:v>
                </c:pt>
                <c:pt idx="6">
                  <c:v>2019</c:v>
                </c:pt>
              </c:numCache>
            </c:numRef>
          </c:cat>
          <c:val>
            <c:numRef>
              <c:f>Sheet1!$B$2:$B$8</c:f>
              <c:numCache>
                <c:formatCode>0.00%</c:formatCode>
                <c:ptCount val="7"/>
                <c:pt idx="0">
                  <c:v>0.1436</c:v>
                </c:pt>
                <c:pt idx="1">
                  <c:v>0.1067</c:v>
                </c:pt>
                <c:pt idx="2">
                  <c:v>0.1372</c:v>
                </c:pt>
                <c:pt idx="3">
                  <c:v>0.187</c:v>
                </c:pt>
                <c:pt idx="4">
                  <c:v>0.1928</c:v>
                </c:pt>
                <c:pt idx="5">
                  <c:v>0.271</c:v>
                </c:pt>
                <c:pt idx="6">
                  <c:v>0.2447</c:v>
                </c:pt>
              </c:numCache>
            </c:numRef>
          </c:val>
          <c:smooth val="0"/>
        </c:ser>
        <c:ser>
          <c:idx val="1"/>
          <c:order val="1"/>
          <c:tx>
            <c:strRef>
              <c:f>Sheet1!$C$1</c:f>
              <c:strCache>
                <c:ptCount val="1"/>
                <c:pt idx="0">
                  <c:v>肺毛霉病</c:v>
                </c:pt>
              </c:strCache>
            </c:strRef>
          </c:tx>
          <c:spPr>
            <a:ln w="28575" cap="rnd">
              <a:solidFill>
                <a:srgbClr val="7030A0"/>
              </a:solidFill>
              <a:round/>
            </a:ln>
            <a:effectLst/>
          </c:spPr>
          <c:marker>
            <c:symbol val="none"/>
          </c:marker>
          <c:dLbls>
            <c:delete val="1"/>
          </c:dLbls>
          <c:cat>
            <c:numRef>
              <c:f>Sheet1!$A$2:$A$8</c:f>
              <c:numCache>
                <c:formatCode>General</c:formatCode>
                <c:ptCount val="7"/>
                <c:pt idx="0">
                  <c:v>2013</c:v>
                </c:pt>
                <c:pt idx="1">
                  <c:v>2014</c:v>
                </c:pt>
                <c:pt idx="2">
                  <c:v>2015</c:v>
                </c:pt>
                <c:pt idx="3">
                  <c:v>2016</c:v>
                </c:pt>
                <c:pt idx="4">
                  <c:v>2017</c:v>
                </c:pt>
                <c:pt idx="5">
                  <c:v>2018</c:v>
                </c:pt>
                <c:pt idx="6">
                  <c:v>2019</c:v>
                </c:pt>
              </c:numCache>
            </c:numRef>
          </c:cat>
          <c:val>
            <c:numRef>
              <c:f>Sheet1!$C$2:$C$8</c:f>
              <c:numCache>
                <c:formatCode>0.00%</c:formatCode>
                <c:ptCount val="7"/>
                <c:pt idx="0">
                  <c:v>0.0017</c:v>
                </c:pt>
                <c:pt idx="1">
                  <c:v>0.0126</c:v>
                </c:pt>
                <c:pt idx="2">
                  <c:v>0.0091</c:v>
                </c:pt>
                <c:pt idx="3">
                  <c:v>0.0044</c:v>
                </c:pt>
                <c:pt idx="4">
                  <c:v>0.014</c:v>
                </c:pt>
                <c:pt idx="5">
                  <c:v>0.0051</c:v>
                </c:pt>
                <c:pt idx="6">
                  <c:v>0.00930000000000001</c:v>
                </c:pt>
              </c:numCache>
            </c:numRef>
          </c:val>
          <c:smooth val="0"/>
        </c:ser>
        <c:ser>
          <c:idx val="2"/>
          <c:order val="2"/>
          <c:tx>
            <c:strRef>
              <c:f>Sheet1!$D$1</c:f>
              <c:strCache>
                <c:ptCount val="1"/>
                <c:pt idx="0">
                  <c:v>马尔尼菲篮状菌</c:v>
                </c:pt>
              </c:strCache>
            </c:strRef>
          </c:tx>
          <c:spPr>
            <a:ln w="28575" cap="rnd">
              <a:solidFill>
                <a:schemeClr val="accent3"/>
              </a:solidFill>
              <a:round/>
            </a:ln>
            <a:effectLst/>
          </c:spPr>
          <c:marker>
            <c:symbol val="none"/>
          </c:marker>
          <c:dLbls>
            <c:delete val="1"/>
          </c:dLbls>
          <c:cat>
            <c:numRef>
              <c:f>Sheet1!$A$2:$A$8</c:f>
              <c:numCache>
                <c:formatCode>General</c:formatCode>
                <c:ptCount val="7"/>
                <c:pt idx="0">
                  <c:v>2013</c:v>
                </c:pt>
                <c:pt idx="1">
                  <c:v>2014</c:v>
                </c:pt>
                <c:pt idx="2">
                  <c:v>2015</c:v>
                </c:pt>
                <c:pt idx="3">
                  <c:v>2016</c:v>
                </c:pt>
                <c:pt idx="4">
                  <c:v>2017</c:v>
                </c:pt>
                <c:pt idx="5">
                  <c:v>2018</c:v>
                </c:pt>
                <c:pt idx="6">
                  <c:v>2019</c:v>
                </c:pt>
              </c:numCache>
            </c:numRef>
          </c:cat>
          <c:val>
            <c:numRef>
              <c:f>Sheet1!$D$2:$D$8</c:f>
              <c:numCache>
                <c:formatCode>0.00%</c:formatCode>
                <c:ptCount val="7"/>
                <c:pt idx="0">
                  <c:v>0.0017</c:v>
                </c:pt>
                <c:pt idx="1">
                  <c:v>0.0031</c:v>
                </c:pt>
                <c:pt idx="2">
                  <c:v>0.0046</c:v>
                </c:pt>
                <c:pt idx="3">
                  <c:v>0.0074</c:v>
                </c:pt>
                <c:pt idx="4">
                  <c:v>0.007</c:v>
                </c:pt>
                <c:pt idx="5">
                  <c:v>0.0114</c:v>
                </c:pt>
                <c:pt idx="6">
                  <c:v>0.0197</c:v>
                </c:pt>
              </c:numCache>
            </c:numRef>
          </c:val>
          <c:smooth val="0"/>
        </c:ser>
        <c:dLbls>
          <c:showLegendKey val="0"/>
          <c:showVal val="0"/>
          <c:showCatName val="0"/>
          <c:showSerName val="0"/>
          <c:showPercent val="0"/>
          <c:showBubbleSize val="0"/>
        </c:dLbls>
        <c:marker val="0"/>
        <c:smooth val="0"/>
        <c:axId val="193025152"/>
        <c:axId val="193026688"/>
      </c:lineChart>
      <c:catAx>
        <c:axId val="193025152"/>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050"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crossAx val="193026688"/>
        <c:crosses val="autoZero"/>
        <c:auto val="1"/>
        <c:lblAlgn val="ctr"/>
        <c:lblOffset val="100"/>
        <c:noMultiLvlLbl val="0"/>
      </c:catAx>
      <c:valAx>
        <c:axId val="193026688"/>
        <c:scaling>
          <c:orientation val="minMax"/>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050" b="0" i="0" u="none" strike="noStrike" kern="1200" baseline="0">
                <a:solidFill>
                  <a:schemeClr val="tx1"/>
                </a:solidFill>
                <a:latin typeface="Times New Roman" panose="02020603050405020304" pitchFamily="18" charset="0"/>
                <a:ea typeface="+mn-ea"/>
                <a:cs typeface="Times New Roman" panose="02020603050405020304" pitchFamily="18" charset="0"/>
              </a:defRPr>
            </a:pPr>
          </a:p>
        </c:txPr>
        <c:crossAx val="193025152"/>
        <c:crosses val="autoZero"/>
        <c:crossBetween val="between"/>
      </c:valAx>
      <c:spPr>
        <a:noFill/>
        <a:ln>
          <a:noFill/>
        </a:ln>
        <a:effectLst/>
      </c:spPr>
    </c:plotArea>
    <c:legend>
      <c:legendPos val="r"/>
      <c:legendEntry>
        <c:idx val="1"/>
        <c:delete val="1"/>
      </c:legendEntry>
      <c:legendEntry>
        <c:idx val="2"/>
        <c:delete val="1"/>
      </c:legendEntry>
      <c:layout>
        <c:manualLayout>
          <c:xMode val="edge"/>
          <c:yMode val="edge"/>
          <c:x val="0.769031041917525"/>
          <c:y val="0.108133306500746"/>
          <c:w val="0.213186910610875"/>
          <c:h val="0.71050192560573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legend>
    <c:plotVisOnly val="1"/>
    <c:dispBlanksAs val="gap"/>
    <c:showDLblsOverMax val="0"/>
    <c:extLst>
      <c:ext uri="{0b15fc19-7d7d-44ad-8c2d-2c3a37ce22c3}">
        <chartProps xmlns="https://web.wps.cn/et/2018/main" chartId="{a1179d07-55f8-4082-84ea-538877e5f565}"/>
      </c:ext>
    </c:extLst>
  </c:chart>
  <c:spPr>
    <a:noFill/>
    <a:ln>
      <a:noFill/>
    </a:ln>
    <a:effectLst/>
  </c:spPr>
  <c:txPr>
    <a:bodyPr/>
    <a:lstStyle/>
    <a:p>
      <a:pPr>
        <a:defRPr lang="zh-CN"/>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252562617017"/>
          <c:y val="0.0246998484363552"/>
          <c:w val="0.857747437382984"/>
          <c:h val="0.701100757739623"/>
        </c:manualLayout>
      </c:layout>
      <c:barChart>
        <c:barDir val="col"/>
        <c:grouping val="clustered"/>
        <c:varyColors val="0"/>
        <c:ser>
          <c:idx val="0"/>
          <c:order val="0"/>
          <c:tx>
            <c:strRef>
              <c:f>Sheet1!$B$1</c:f>
              <c:strCache>
                <c:ptCount val="1"/>
                <c:pt idx="0">
                  <c:v>系列 1</c:v>
                </c:pt>
              </c:strCache>
            </c:strRef>
          </c:tx>
          <c:spPr>
            <a:solidFill>
              <a:srgbClr val="95358C"/>
            </a:solidFill>
            <a:ln>
              <a:noFill/>
            </a:ln>
            <a:effectLst/>
          </c:spPr>
          <c:invertIfNegative val="0"/>
          <c:dLbls>
            <c:numFmt formatCode="@" sourceLinked="0"/>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侵袭性
曲霉病</c:v>
                </c:pt>
                <c:pt idx="1">
                  <c:v>念珠菌血
症和侵袭
性念珠菌病</c:v>
                </c:pt>
                <c:pt idx="2">
                  <c:v>隐球菌
脑膜炎</c:v>
                </c:pt>
                <c:pt idx="3">
                  <c:v>毛霉病</c:v>
                </c:pt>
              </c:strCache>
            </c:strRef>
          </c:cat>
          <c:val>
            <c:numRef>
              <c:f>Sheet1!$B$2:$B$5</c:f>
              <c:numCache>
                <c:formatCode>0.00_);[Red]\(0.00\)</c:formatCode>
                <c:ptCount val="4"/>
                <c:pt idx="0">
                  <c:v>2000</c:v>
                </c:pt>
                <c:pt idx="1">
                  <c:v>1000</c:v>
                </c:pt>
                <c:pt idx="2">
                  <c:v>190</c:v>
                </c:pt>
                <c:pt idx="3">
                  <c:v>150</c:v>
                </c:pt>
              </c:numCache>
            </c:numRef>
          </c:val>
        </c:ser>
        <c:dLbls>
          <c:showLegendKey val="0"/>
          <c:showVal val="0"/>
          <c:showCatName val="0"/>
          <c:showSerName val="0"/>
          <c:showPercent val="0"/>
          <c:showBubbleSize val="0"/>
        </c:dLbls>
        <c:gapWidth val="219"/>
        <c:overlap val="-27"/>
        <c:axId val="193310720"/>
        <c:axId val="193312256"/>
      </c:barChart>
      <c:catAx>
        <c:axId val="193310720"/>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000"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crossAx val="193312256"/>
        <c:crosses val="autoZero"/>
        <c:auto val="1"/>
        <c:lblAlgn val="ctr"/>
        <c:lblOffset val="100"/>
        <c:noMultiLvlLbl val="0"/>
      </c:catAx>
      <c:valAx>
        <c:axId val="193312256"/>
        <c:scaling>
          <c:orientation val="minMax"/>
        </c:scaling>
        <c:delete val="0"/>
        <c:axPos val="l"/>
        <c:numFmt formatCode="0.00_);[Red]\(0.0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crossAx val="193310720"/>
        <c:crosses val="autoZero"/>
        <c:crossBetween val="between"/>
      </c:valAx>
      <c:spPr>
        <a:noFill/>
        <a:ln>
          <a:noFill/>
        </a:ln>
        <a:effectLst/>
      </c:spPr>
    </c:plotArea>
    <c:plotVisOnly val="1"/>
    <c:dispBlanksAs val="gap"/>
    <c:showDLblsOverMax val="0"/>
    <c:extLst>
      <c:ext uri="{0b15fc19-7d7d-44ad-8c2d-2c3a37ce22c3}">
        <chartProps xmlns="https://web.wps.cn/et/2018/main" chartId="{e8e9cc10-3c62-4121-9a36-1c0904d10f8b}"/>
      </c:ext>
    </c:extLst>
  </c:chart>
  <c:spPr>
    <a:noFill/>
    <a:ln>
      <a:noFill/>
    </a:ln>
    <a:effectLst/>
  </c:spPr>
  <c:txPr>
    <a:bodyPr/>
    <a:lstStyle/>
    <a:p>
      <a:pPr>
        <a:defRPr lang="zh-CN">
          <a:latin typeface="Arial" panose="020B0604020202020204" pitchFamily="34" charset="0"/>
          <a:ea typeface="微软雅黑" panose="020B0503020204020204" charset="-122"/>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252562617017"/>
          <c:y val="0.0213844770813173"/>
          <c:w val="0.857747406830922"/>
          <c:h val="0.840055856838353"/>
        </c:manualLayout>
      </c:layout>
      <c:barChart>
        <c:barDir val="col"/>
        <c:grouping val="stacked"/>
        <c:varyColors val="0"/>
        <c:ser>
          <c:idx val="0"/>
          <c:order val="0"/>
          <c:tx>
            <c:strRef>
              <c:f>Sheet1!$B$1</c:f>
              <c:strCache>
                <c:ptCount val="1"/>
                <c:pt idx="0">
                  <c:v>COPD中的IA</c:v>
                </c:pt>
              </c:strCache>
            </c:strRef>
          </c:tx>
          <c:spPr>
            <a:solidFill>
              <a:srgbClr val="95358C"/>
            </a:solidFill>
            <a:ln>
              <a:noFill/>
            </a:ln>
            <a:effectLst/>
          </c:spPr>
          <c:invertIfNegative val="0"/>
          <c:dLbls>
            <c:delete val="1"/>
          </c:dLbls>
          <c:cat>
            <c:strRef>
              <c:f>Sheet1!$A$2:$A$6</c:f>
              <c:strCache>
                <c:ptCount val="5"/>
                <c:pt idx="0">
                  <c:v>侵袭性
曲霉病</c:v>
                </c:pt>
                <c:pt idx="1">
                  <c:v>侵袭性肺曲霉病</c:v>
                </c:pt>
                <c:pt idx="2">
                  <c:v>念珠菌血症和侵袭性
念珠菌病</c:v>
                </c:pt>
                <c:pt idx="3">
                  <c:v>毛霉病</c:v>
                </c:pt>
                <c:pt idx="4">
                  <c:v>隐球菌
脑膜炎</c:v>
                </c:pt>
              </c:strCache>
            </c:strRef>
          </c:cat>
          <c:val>
            <c:numRef>
              <c:f>Sheet1!$B$2:$B$6</c:f>
              <c:numCache>
                <c:formatCode>0.00_);[Red]\(0.00\)</c:formatCode>
                <c:ptCount val="5"/>
                <c:pt idx="0">
                  <c:v>1400</c:v>
                </c:pt>
              </c:numCache>
            </c:numRef>
          </c:val>
        </c:ser>
        <c:ser>
          <c:idx val="1"/>
          <c:order val="1"/>
          <c:tx>
            <c:strRef>
              <c:f>Sheet1!$C$1</c:f>
              <c:strCache>
                <c:ptCount val="1"/>
                <c:pt idx="0">
                  <c:v>ICU中的IA</c:v>
                </c:pt>
              </c:strCache>
            </c:strRef>
          </c:tx>
          <c:spPr>
            <a:solidFill>
              <a:srgbClr val="E1CDE3"/>
            </a:solidFill>
            <a:ln>
              <a:noFill/>
            </a:ln>
            <a:effectLst/>
          </c:spPr>
          <c:invertIfNegative val="0"/>
          <c:dLbls>
            <c:delete val="1"/>
          </c:dLbls>
          <c:cat>
            <c:strRef>
              <c:f>Sheet1!$A$2:$A$6</c:f>
              <c:strCache>
                <c:ptCount val="5"/>
                <c:pt idx="0">
                  <c:v>侵袭性
曲霉病</c:v>
                </c:pt>
                <c:pt idx="1">
                  <c:v>侵袭性肺曲霉病</c:v>
                </c:pt>
                <c:pt idx="2">
                  <c:v>念珠菌血症和侵袭性
念珠菌病</c:v>
                </c:pt>
                <c:pt idx="3">
                  <c:v>毛霉病</c:v>
                </c:pt>
                <c:pt idx="4">
                  <c:v>隐球菌
脑膜炎</c:v>
                </c:pt>
              </c:strCache>
            </c:strRef>
          </c:cat>
          <c:val>
            <c:numRef>
              <c:f>Sheet1!$C$2:$C$6</c:f>
              <c:numCache>
                <c:formatCode>General</c:formatCode>
                <c:ptCount val="5"/>
                <c:pt idx="0">
                  <c:v>600</c:v>
                </c:pt>
              </c:numCache>
            </c:numRef>
          </c:val>
        </c:ser>
        <c:ser>
          <c:idx val="2"/>
          <c:order val="2"/>
          <c:tx>
            <c:strRef>
              <c:f>Sheet1!$D$1</c:f>
              <c:strCache>
                <c:ptCount val="1"/>
                <c:pt idx="0">
                  <c:v>肺癌中的IA</c:v>
                </c:pt>
              </c:strCache>
            </c:strRef>
          </c:tx>
          <c:spPr>
            <a:solidFill>
              <a:schemeClr val="accent3"/>
            </a:solidFill>
            <a:ln>
              <a:noFill/>
            </a:ln>
            <a:effectLst/>
          </c:spPr>
          <c:invertIfNegative val="0"/>
          <c:dLbls>
            <c:delete val="1"/>
          </c:dLbls>
          <c:cat>
            <c:strRef>
              <c:f>Sheet1!$A$2:$A$6</c:f>
              <c:strCache>
                <c:ptCount val="5"/>
                <c:pt idx="0">
                  <c:v>侵袭性
曲霉病</c:v>
                </c:pt>
                <c:pt idx="1">
                  <c:v>侵袭性肺曲霉病</c:v>
                </c:pt>
                <c:pt idx="2">
                  <c:v>念珠菌血症和侵袭性
念珠菌病</c:v>
                </c:pt>
                <c:pt idx="3">
                  <c:v>毛霉病</c:v>
                </c:pt>
                <c:pt idx="4">
                  <c:v>隐球菌
脑膜炎</c:v>
                </c:pt>
              </c:strCache>
            </c:strRef>
          </c:cat>
          <c:val>
            <c:numRef>
              <c:f>Sheet1!$D$2:$D$6</c:f>
              <c:numCache>
                <c:formatCode>General</c:formatCode>
                <c:ptCount val="5"/>
                <c:pt idx="0">
                  <c:v>30</c:v>
                </c:pt>
              </c:numCache>
            </c:numRef>
          </c:val>
        </c:ser>
        <c:ser>
          <c:idx val="3"/>
          <c:order val="3"/>
          <c:tx>
            <c:strRef>
              <c:f>Sheet1!$E$1</c:f>
              <c:strCache>
                <c:ptCount val="1"/>
                <c:pt idx="0">
                  <c:v>白血病、淋巴瘤和异基因HSCT中的IA</c:v>
                </c:pt>
              </c:strCache>
            </c:strRef>
          </c:tx>
          <c:spPr>
            <a:solidFill>
              <a:schemeClr val="accent4"/>
            </a:solidFill>
            <a:ln>
              <a:noFill/>
            </a:ln>
            <a:effectLst/>
          </c:spPr>
          <c:invertIfNegative val="0"/>
          <c:dLbls>
            <c:delete val="1"/>
          </c:dLbls>
          <c:cat>
            <c:strRef>
              <c:f>Sheet1!$A$2:$A$6</c:f>
              <c:strCache>
                <c:ptCount val="5"/>
                <c:pt idx="0">
                  <c:v>侵袭性
曲霉病</c:v>
                </c:pt>
                <c:pt idx="1">
                  <c:v>侵袭性肺曲霉病</c:v>
                </c:pt>
                <c:pt idx="2">
                  <c:v>念珠菌血症和侵袭性
念珠菌病</c:v>
                </c:pt>
                <c:pt idx="3">
                  <c:v>毛霉病</c:v>
                </c:pt>
                <c:pt idx="4">
                  <c:v>隐球菌
脑膜炎</c:v>
                </c:pt>
              </c:strCache>
            </c:strRef>
          </c:cat>
          <c:val>
            <c:numRef>
              <c:f>Sheet1!$E$2:$E$6</c:f>
              <c:numCache>
                <c:formatCode>General</c:formatCode>
                <c:ptCount val="5"/>
                <c:pt idx="0">
                  <c:v>10</c:v>
                </c:pt>
              </c:numCache>
            </c:numRef>
          </c:val>
        </c:ser>
        <c:ser>
          <c:idx val="4"/>
          <c:order val="4"/>
          <c:tx>
            <c:strRef>
              <c:f>Sheet1!$F$1</c:f>
              <c:strCache>
                <c:ptCount val="1"/>
                <c:pt idx="0">
                  <c:v>念珠菌血症</c:v>
                </c:pt>
              </c:strCache>
            </c:strRef>
          </c:tx>
          <c:spPr>
            <a:solidFill>
              <a:schemeClr val="accent2">
                <a:lumMod val="60000"/>
                <a:lumOff val="40000"/>
              </a:schemeClr>
            </a:solidFill>
            <a:ln>
              <a:noFill/>
            </a:ln>
            <a:effectLst/>
          </c:spPr>
          <c:invertIfNegative val="0"/>
          <c:dLbls>
            <c:delete val="1"/>
          </c:dLbls>
          <c:cat>
            <c:strRef>
              <c:f>Sheet1!$A$2:$A$6</c:f>
              <c:strCache>
                <c:ptCount val="5"/>
                <c:pt idx="0">
                  <c:v>侵袭性
曲霉病</c:v>
                </c:pt>
                <c:pt idx="1">
                  <c:v>侵袭性肺曲霉病</c:v>
                </c:pt>
                <c:pt idx="2">
                  <c:v>念珠菌血症和侵袭性
念珠菌病</c:v>
                </c:pt>
                <c:pt idx="3">
                  <c:v>毛霉病</c:v>
                </c:pt>
                <c:pt idx="4">
                  <c:v>隐球菌
脑膜炎</c:v>
                </c:pt>
              </c:strCache>
            </c:strRef>
          </c:cat>
          <c:val>
            <c:numRef>
              <c:f>Sheet1!$F$2:$F$6</c:f>
              <c:numCache>
                <c:formatCode>General</c:formatCode>
                <c:ptCount val="5"/>
                <c:pt idx="2">
                  <c:v>600</c:v>
                </c:pt>
              </c:numCache>
            </c:numRef>
          </c:val>
        </c:ser>
        <c:ser>
          <c:idx val="5"/>
          <c:order val="5"/>
          <c:tx>
            <c:strRef>
              <c:f>Sheet1!$G$1</c:f>
              <c:strCache>
                <c:ptCount val="1"/>
                <c:pt idx="0">
                  <c:v>非念珠菌血症的IC</c:v>
                </c:pt>
              </c:strCache>
            </c:strRef>
          </c:tx>
          <c:spPr>
            <a:solidFill>
              <a:schemeClr val="accent2">
                <a:lumMod val="75000"/>
              </a:schemeClr>
            </a:solidFill>
            <a:ln>
              <a:noFill/>
            </a:ln>
            <a:effectLst/>
          </c:spPr>
          <c:invertIfNegative val="0"/>
          <c:dLbls>
            <c:delete val="1"/>
          </c:dLbls>
          <c:cat>
            <c:strRef>
              <c:f>Sheet1!$A$2:$A$6</c:f>
              <c:strCache>
                <c:ptCount val="5"/>
                <c:pt idx="0">
                  <c:v>侵袭性
曲霉病</c:v>
                </c:pt>
                <c:pt idx="1">
                  <c:v>侵袭性肺曲霉病</c:v>
                </c:pt>
                <c:pt idx="2">
                  <c:v>念珠菌血症和侵袭性
念珠菌病</c:v>
                </c:pt>
                <c:pt idx="3">
                  <c:v>毛霉病</c:v>
                </c:pt>
                <c:pt idx="4">
                  <c:v>隐球菌
脑膜炎</c:v>
                </c:pt>
              </c:strCache>
            </c:strRef>
          </c:cat>
          <c:val>
            <c:numRef>
              <c:f>Sheet1!$G$2:$G$6</c:f>
              <c:numCache>
                <c:formatCode>General</c:formatCode>
                <c:ptCount val="5"/>
                <c:pt idx="2">
                  <c:v>800</c:v>
                </c:pt>
              </c:numCache>
            </c:numRef>
          </c:val>
        </c:ser>
        <c:ser>
          <c:idx val="6"/>
          <c:order val="6"/>
          <c:tx>
            <c:strRef>
              <c:f>Sheet1!$H$1</c:f>
              <c:strCache>
                <c:ptCount val="1"/>
                <c:pt idx="0">
                  <c:v>非ALDS患者隐球菌脑膜炎</c:v>
                </c:pt>
              </c:strCache>
            </c:strRef>
          </c:tx>
          <c:spPr>
            <a:solidFill>
              <a:schemeClr val="accent1">
                <a:lumMod val="60000"/>
                <a:lumOff val="40000"/>
              </a:schemeClr>
            </a:solidFill>
            <a:ln>
              <a:noFill/>
            </a:ln>
            <a:effectLst/>
          </c:spPr>
          <c:invertIfNegative val="0"/>
          <c:dLbls>
            <c:delete val="1"/>
          </c:dLbls>
          <c:cat>
            <c:strRef>
              <c:f>Sheet1!$A$2:$A$6</c:f>
              <c:strCache>
                <c:ptCount val="5"/>
                <c:pt idx="0">
                  <c:v>侵袭性
曲霉病</c:v>
                </c:pt>
                <c:pt idx="1">
                  <c:v>侵袭性肺曲霉病</c:v>
                </c:pt>
                <c:pt idx="2">
                  <c:v>念珠菌血症和侵袭性
念珠菌病</c:v>
                </c:pt>
                <c:pt idx="3">
                  <c:v>毛霉病</c:v>
                </c:pt>
                <c:pt idx="4">
                  <c:v>隐球菌
脑膜炎</c:v>
                </c:pt>
              </c:strCache>
            </c:strRef>
          </c:cat>
          <c:val>
            <c:numRef>
              <c:f>Sheet1!$H$2:$H$6</c:f>
              <c:numCache>
                <c:formatCode>General</c:formatCode>
                <c:ptCount val="5"/>
                <c:pt idx="4">
                  <c:v>200</c:v>
                </c:pt>
              </c:numCache>
            </c:numRef>
          </c:val>
        </c:ser>
        <c:ser>
          <c:idx val="7"/>
          <c:order val="7"/>
          <c:tx>
            <c:strRef>
              <c:f>Sheet1!$I$1</c:f>
              <c:strCache>
                <c:ptCount val="1"/>
                <c:pt idx="0">
                  <c:v>AIDS患者隐球菌脑膜炎</c:v>
                </c:pt>
              </c:strCache>
            </c:strRef>
          </c:tx>
          <c:spPr>
            <a:solidFill>
              <a:schemeClr val="accent1">
                <a:lumMod val="20000"/>
                <a:lumOff val="80000"/>
              </a:schemeClr>
            </a:solidFill>
            <a:ln>
              <a:noFill/>
            </a:ln>
            <a:effectLst/>
          </c:spPr>
          <c:invertIfNegative val="0"/>
          <c:dLbls>
            <c:delete val="1"/>
          </c:dLbls>
          <c:cat>
            <c:strRef>
              <c:f>Sheet1!$A$2:$A$6</c:f>
              <c:strCache>
                <c:ptCount val="5"/>
                <c:pt idx="0">
                  <c:v>侵袭性
曲霉病</c:v>
                </c:pt>
                <c:pt idx="1">
                  <c:v>侵袭性肺曲霉病</c:v>
                </c:pt>
                <c:pt idx="2">
                  <c:v>念珠菌血症和侵袭性
念珠菌病</c:v>
                </c:pt>
                <c:pt idx="3">
                  <c:v>毛霉病</c:v>
                </c:pt>
                <c:pt idx="4">
                  <c:v>隐球菌
脑膜炎</c:v>
                </c:pt>
              </c:strCache>
            </c:strRef>
          </c:cat>
          <c:val>
            <c:numRef>
              <c:f>Sheet1!$I$2:$I$6</c:f>
              <c:numCache>
                <c:formatCode>General</c:formatCode>
                <c:ptCount val="5"/>
                <c:pt idx="4">
                  <c:v>100</c:v>
                </c:pt>
              </c:numCache>
            </c:numRef>
          </c:val>
        </c:ser>
        <c:ser>
          <c:idx val="8"/>
          <c:order val="8"/>
          <c:tx>
            <c:strRef>
              <c:f>Sheet1!$J$1</c:f>
              <c:strCache>
                <c:ptCount val="1"/>
                <c:pt idx="0">
                  <c:v>列1</c:v>
                </c:pt>
              </c:strCache>
            </c:strRef>
          </c:tx>
          <c:spPr>
            <a:solidFill>
              <a:schemeClr val="bg2">
                <a:lumMod val="75000"/>
              </a:schemeClr>
            </a:solidFill>
            <a:ln>
              <a:noFill/>
            </a:ln>
            <a:effectLst/>
          </c:spPr>
          <c:invertIfNegative val="0"/>
          <c:dPt>
            <c:idx val="1"/>
            <c:invertIfNegative val="0"/>
            <c:bubble3D val="0"/>
            <c:spPr>
              <a:solidFill>
                <a:schemeClr val="accent6">
                  <a:lumMod val="60000"/>
                  <a:lumOff val="40000"/>
                </a:schemeClr>
              </a:solidFill>
              <a:ln>
                <a:noFill/>
              </a:ln>
              <a:effectLst/>
            </c:spPr>
          </c:dPt>
          <c:dPt>
            <c:idx val="3"/>
            <c:invertIfNegative val="0"/>
            <c:bubble3D val="0"/>
            <c:spPr>
              <a:solidFill>
                <a:srgbClr val="FFFF00"/>
              </a:solidFill>
              <a:ln>
                <a:noFill/>
              </a:ln>
              <a:effectLst/>
            </c:spPr>
          </c:dPt>
          <c:dLbls>
            <c:delete val="1"/>
          </c:dLbls>
          <c:cat>
            <c:strRef>
              <c:f>Sheet1!$A$2:$A$6</c:f>
              <c:strCache>
                <c:ptCount val="5"/>
                <c:pt idx="0">
                  <c:v>侵袭性
曲霉病</c:v>
                </c:pt>
                <c:pt idx="1">
                  <c:v>侵袭性肺曲霉病</c:v>
                </c:pt>
                <c:pt idx="2">
                  <c:v>念珠菌血症和侵袭性
念珠菌病</c:v>
                </c:pt>
                <c:pt idx="3">
                  <c:v>毛霉病</c:v>
                </c:pt>
                <c:pt idx="4">
                  <c:v>隐球菌
脑膜炎</c:v>
                </c:pt>
              </c:strCache>
            </c:strRef>
          </c:cat>
          <c:val>
            <c:numRef>
              <c:f>Sheet1!$J$2:$J$6</c:f>
              <c:numCache>
                <c:formatCode>General</c:formatCode>
                <c:ptCount val="5"/>
                <c:pt idx="1">
                  <c:v>2000</c:v>
                </c:pt>
                <c:pt idx="3">
                  <c:v>300</c:v>
                </c:pt>
              </c:numCache>
            </c:numRef>
          </c:val>
        </c:ser>
        <c:dLbls>
          <c:showLegendKey val="0"/>
          <c:showVal val="0"/>
          <c:showCatName val="0"/>
          <c:showSerName val="0"/>
          <c:showPercent val="0"/>
          <c:showBubbleSize val="0"/>
        </c:dLbls>
        <c:gapWidth val="219"/>
        <c:overlap val="100"/>
        <c:axId val="193589248"/>
        <c:axId val="193590784"/>
      </c:barChart>
      <c:catAx>
        <c:axId val="193589248"/>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050"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crossAx val="193590784"/>
        <c:crosses val="autoZero"/>
        <c:auto val="1"/>
        <c:lblAlgn val="ctr"/>
        <c:lblOffset val="100"/>
        <c:noMultiLvlLbl val="0"/>
      </c:catAx>
      <c:valAx>
        <c:axId val="193590784"/>
        <c:scaling>
          <c:orientation val="minMax"/>
        </c:scaling>
        <c:delete val="0"/>
        <c:axPos val="l"/>
        <c:numFmt formatCode="0.00_);[Red]\(0.0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crossAx val="193589248"/>
        <c:crosses val="autoZero"/>
        <c:crossBetween val="between"/>
      </c:valAx>
      <c:spPr>
        <a:noFill/>
        <a:ln>
          <a:noFill/>
        </a:ln>
        <a:effectLst/>
      </c:spPr>
    </c:plotArea>
    <c:plotVisOnly val="1"/>
    <c:dispBlanksAs val="gap"/>
    <c:showDLblsOverMax val="0"/>
    <c:extLst>
      <c:ext uri="{0b15fc19-7d7d-44ad-8c2d-2c3a37ce22c3}">
        <chartProps xmlns="https://web.wps.cn/et/2018/main" chartId="{e36ab218-d65f-429d-a79d-0fcd2882a319}"/>
      </c:ext>
    </c:extLst>
  </c:chart>
  <c:spPr>
    <a:noFill/>
    <a:ln>
      <a:noFill/>
    </a:ln>
    <a:effectLst/>
  </c:spPr>
  <c:txPr>
    <a:bodyPr/>
    <a:lstStyle/>
    <a:p>
      <a:pPr>
        <a:defRPr lang="zh-CN">
          <a:latin typeface="Arial" panose="020B0604020202020204" pitchFamily="34" charset="0"/>
          <a:ea typeface="微软雅黑" panose="020B0503020204020204" charset="-122"/>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rgbClr val="95358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Times New Roman" panose="02020603050405020304" pitchFamily="18" charset="0"/>
                    <a:ea typeface="微软雅黑" panose="020B0503020204020204" charset="-122"/>
                    <a:cs typeface="Times New Roman" panose="02020603050405020304" pitchFamily="18"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烟曲霉</c:v>
                </c:pt>
                <c:pt idx="1">
                  <c:v>黄曲霉</c:v>
                </c:pt>
                <c:pt idx="2">
                  <c:v>黑曲霉</c:v>
                </c:pt>
                <c:pt idx="3">
                  <c:v>土曲霉</c:v>
                </c:pt>
                <c:pt idx="4">
                  <c:v>构巢曲霉</c:v>
                </c:pt>
                <c:pt idx="5">
                  <c:v>杂色曲霉</c:v>
                </c:pt>
              </c:strCache>
            </c:strRef>
          </c:cat>
          <c:val>
            <c:numRef>
              <c:f>Sheet1!$B$2:$B$7</c:f>
              <c:numCache>
                <c:formatCode>0%</c:formatCode>
                <c:ptCount val="6"/>
                <c:pt idx="0">
                  <c:v>0.494</c:v>
                </c:pt>
                <c:pt idx="1">
                  <c:v>0.259</c:v>
                </c:pt>
                <c:pt idx="2">
                  <c:v>0.119</c:v>
                </c:pt>
                <c:pt idx="3" c:formatCode="0.00%">
                  <c:v>0.04</c:v>
                </c:pt>
                <c:pt idx="4" c:formatCode="0.00%">
                  <c:v>0.011</c:v>
                </c:pt>
                <c:pt idx="5" c:formatCode="0.00%">
                  <c:v>0.009</c:v>
                </c:pt>
              </c:numCache>
            </c:numRef>
          </c:val>
        </c:ser>
        <c:dLbls>
          <c:showLegendKey val="0"/>
          <c:showVal val="0"/>
          <c:showCatName val="0"/>
          <c:showSerName val="0"/>
          <c:showPercent val="0"/>
          <c:showBubbleSize val="0"/>
        </c:dLbls>
        <c:gapWidth val="219"/>
        <c:overlap val="-27"/>
        <c:axId val="193698432"/>
        <c:axId val="193724800"/>
      </c:barChart>
      <c:catAx>
        <c:axId val="193698432"/>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微软雅黑" panose="020B0503020204020204" charset="-122"/>
                <a:ea typeface="微软雅黑" panose="020B0503020204020204" charset="-122"/>
                <a:cs typeface="+mn-cs"/>
              </a:defRPr>
            </a:pPr>
          </a:p>
        </c:txPr>
        <c:crossAx val="193724800"/>
        <c:crosses val="autoZero"/>
        <c:auto val="1"/>
        <c:lblAlgn val="ctr"/>
        <c:lblOffset val="100"/>
        <c:noMultiLvlLbl val="0"/>
      </c:catAx>
      <c:valAx>
        <c:axId val="193724800"/>
        <c:scaling>
          <c:orientation val="minMax"/>
        </c:scaling>
        <c:delete val="0"/>
        <c:axPos val="l"/>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Times New Roman" panose="02020603050405020304" pitchFamily="18" charset="0"/>
                <a:ea typeface="微软雅黑" panose="020B0503020204020204" charset="-122"/>
                <a:cs typeface="Times New Roman" panose="02020603050405020304" pitchFamily="18" charset="0"/>
              </a:defRPr>
            </a:pPr>
          </a:p>
        </c:txPr>
        <c:crossAx val="193698432"/>
        <c:crosses val="autoZero"/>
        <c:crossBetween val="between"/>
      </c:valAx>
      <c:spPr>
        <a:noFill/>
        <a:ln>
          <a:noFill/>
        </a:ln>
        <a:effectLst/>
      </c:spPr>
    </c:plotArea>
    <c:plotVisOnly val="1"/>
    <c:dispBlanksAs val="gap"/>
    <c:showDLblsOverMax val="0"/>
    <c:extLst>
      <c:ext uri="{0b15fc19-7d7d-44ad-8c2d-2c3a37ce22c3}">
        <chartProps xmlns="https://web.wps.cn/et/2018/main" chartId="{50f3b8b5-72f6-48da-8433-4a3f73e601e1}"/>
      </c:ext>
    </c:extLst>
  </c:chart>
  <c:spPr>
    <a:noFill/>
    <a:ln>
      <a:noFill/>
    </a:ln>
    <a:effectLst/>
  </c:spPr>
  <c:txPr>
    <a:bodyPr/>
    <a:lstStyle/>
    <a:p>
      <a:pPr>
        <a:defRPr lang="zh-CN">
          <a:latin typeface="Arial" panose="020B0604020202020204" pitchFamily="34" charset="0"/>
          <a:ea typeface="微软雅黑" panose="020B0503020204020204" charset="-122"/>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1171959238812"/>
          <c:y val="0.0804545744141203"/>
          <c:w val="0.859610536532701"/>
          <c:h val="0.746248524309284"/>
        </c:manualLayout>
      </c:layout>
      <c:barChart>
        <c:barDir val="col"/>
        <c:grouping val="clustered"/>
        <c:varyColors val="0"/>
        <c:ser>
          <c:idx val="0"/>
          <c:order val="0"/>
          <c:tx>
            <c:strRef>
              <c:f>Sheet1!$B$1</c:f>
              <c:strCache>
                <c:ptCount val="1"/>
                <c:pt idx="0">
                  <c:v>2016年</c:v>
                </c:pt>
              </c:strCache>
            </c:strRef>
          </c:tx>
          <c:spPr>
            <a:solidFill>
              <a:srgbClr val="95358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Times New Roman" panose="02020603050405020304" pitchFamily="18" charset="0"/>
                    <a:ea typeface="汉仪旗黑-55简" panose="00020600040101010101" charset="-122"/>
                    <a:cs typeface="Times New Roman" panose="02020603050405020304" pitchFamily="18" charset="0"/>
                    <a:sym typeface="汉仪旗黑-55简" panose="00020600040101010101"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毛霉属</c:v>
                </c:pt>
                <c:pt idx="1">
                  <c:v>根霉属</c:v>
                </c:pt>
                <c:pt idx="2">
                  <c:v>根毛霉属</c:v>
                </c:pt>
                <c:pt idx="3">
                  <c:v>横梗霉属</c:v>
                </c:pt>
                <c:pt idx="4">
                  <c:v>小克银
汉霉属</c:v>
                </c:pt>
              </c:strCache>
            </c:strRef>
          </c:cat>
          <c:val>
            <c:numRef>
              <c:f>Sheet1!$B$2:$B$6</c:f>
              <c:numCache>
                <c:formatCode>0%</c:formatCode>
                <c:ptCount val="5"/>
                <c:pt idx="0">
                  <c:v>0.466</c:v>
                </c:pt>
                <c:pt idx="1">
                  <c:v>0.33</c:v>
                </c:pt>
                <c:pt idx="2" c:formatCode="0.00%">
                  <c:v>0.097</c:v>
                </c:pt>
                <c:pt idx="3">
                  <c:v>0.078</c:v>
                </c:pt>
                <c:pt idx="4">
                  <c:v>0.029</c:v>
                </c:pt>
              </c:numCache>
            </c:numRef>
          </c:val>
        </c:ser>
        <c:dLbls>
          <c:showLegendKey val="0"/>
          <c:showVal val="0"/>
          <c:showCatName val="0"/>
          <c:showSerName val="0"/>
          <c:showPercent val="0"/>
          <c:showBubbleSize val="0"/>
        </c:dLbls>
        <c:gapWidth val="149"/>
        <c:axId val="193934080"/>
        <c:axId val="193935616"/>
      </c:barChart>
      <c:catAx>
        <c:axId val="193934080"/>
        <c:scaling>
          <c:orientation val="minMax"/>
        </c:scaling>
        <c:delete val="0"/>
        <c:axPos val="b"/>
        <c:numFmt formatCode="General" sourceLinked="0"/>
        <c:majorTickMark val="in"/>
        <c:minorTickMark val="none"/>
        <c:tickLblPos val="nextTo"/>
        <c:spPr>
          <a:noFill/>
          <a:ln w="9525" cap="flat" cmpd="sng" algn="ctr">
            <a:solidFill>
              <a:sysClr val="windowText" lastClr="000000"/>
            </a:solidFill>
            <a:round/>
          </a:ln>
          <a:effectLst/>
        </c:spPr>
        <c:txPr>
          <a:bodyPr rot="-60000000" spcFirstLastPara="0" vertOverflow="ellipsis" vert="horz" wrap="square" anchor="ctr" anchorCtr="1" forceAA="0"/>
          <a:lstStyle/>
          <a:p>
            <a:pPr>
              <a:defRPr lang="zh-CN" sz="1100" b="0" i="0" u="none" strike="noStrike" kern="1200" baseline="0">
                <a:solidFill>
                  <a:schemeClr val="tx1"/>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193935616"/>
        <c:crosses val="autoZero"/>
        <c:auto val="1"/>
        <c:lblAlgn val="ctr"/>
        <c:lblOffset val="100"/>
        <c:noMultiLvlLbl val="0"/>
      </c:catAx>
      <c:valAx>
        <c:axId val="193935616"/>
        <c:scaling>
          <c:orientation val="minMax"/>
        </c:scaling>
        <c:delete val="0"/>
        <c:axPos val="l"/>
        <c:numFmt formatCode="0%" sourceLinked="1"/>
        <c:majorTickMark val="in"/>
        <c:minorTickMark val="none"/>
        <c:tickLblPos val="nextTo"/>
        <c:spPr>
          <a:noFill/>
          <a:ln w="12700" cmpd="sng">
            <a:solidFill>
              <a:sysClr val="windowText" lastClr="000000"/>
            </a:solidFill>
            <a:prstDash val="solid"/>
          </a:ln>
          <a:effectLst/>
        </c:spPr>
        <c:txPr>
          <a:bodyPr rot="-60000000" spcFirstLastPara="0" vertOverflow="ellipsis" vert="horz" wrap="square" anchor="ctr" anchorCtr="1" forceAA="0"/>
          <a:lstStyle/>
          <a:p>
            <a:pPr>
              <a:defRPr lang="zh-CN" sz="1100" b="0" i="0" u="none" strike="noStrike" kern="1200" baseline="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sym typeface="Times New Roman" panose="02020603050405020304" pitchFamily="18" charset="0"/>
              </a:defRPr>
            </a:pPr>
          </a:p>
        </c:txPr>
        <c:crossAx val="193934080"/>
        <c:crosses val="autoZero"/>
        <c:crossBetween val="between"/>
      </c:valAx>
      <c:spPr>
        <a:noFill/>
        <a:ln>
          <a:noFill/>
        </a:ln>
        <a:effectLst/>
      </c:spPr>
    </c:plotArea>
    <c:plotVisOnly val="1"/>
    <c:dispBlanksAs val="gap"/>
    <c:showDLblsOverMax val="0"/>
    <c:extLst>
      <c:ext uri="{0b15fc19-7d7d-44ad-8c2d-2c3a37ce22c3}">
        <chartProps xmlns="https://web.wps.cn/et/2018/main" chartId="{cd9c6441-2d41-4130-b12a-3506587dd003}"/>
      </c:ext>
    </c:extLst>
  </c:chart>
  <c:spPr>
    <a:noFill/>
    <a:ln w="50800" cap="flat" cmpd="sng" algn="ctr">
      <a:noFill/>
      <a:prstDash val="solid"/>
      <a:round/>
    </a:ln>
    <a:effectLst/>
  </c:spPr>
  <c:txPr>
    <a:bodyPr/>
    <a:lstStyle/>
    <a:p>
      <a:pPr>
        <a:defRPr lang="zh-CN">
          <a:latin typeface="汉仪旗黑-55简" panose="00020600040101010101" charset="-122"/>
          <a:ea typeface="汉仪旗黑-55简" panose="00020600040101010101" charset="-122"/>
          <a:cs typeface="汉仪旗黑-55简" panose="00020600040101010101" charset="-122"/>
          <a:sym typeface="汉仪旗黑-55简" panose="00020600040101010101"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3C2F6F8-E646-4EC0-9082-54F9B19CD1C3}"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9161FE2-4553-484B-8E20-56B9E40ABF1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altLang="zh-CN" sz="1200"/>
          </a:p>
        </p:txBody>
      </p:sp>
      <p:sp>
        <p:nvSpPr>
          <p:cNvPr id="4" name="灯片编号占位符 3"/>
          <p:cNvSpPr>
            <a:spLocks noGrp="1"/>
          </p:cNvSpPr>
          <p:nvPr>
            <p:ph type="sldNum" sz="quarter" idx="5"/>
          </p:nvPr>
        </p:nvSpPr>
        <p:spPr/>
        <p:txBody>
          <a:bodyPr/>
          <a:lstStyle/>
          <a:p>
            <a:fld id="{C1072AD9-70EE-4E17-83F9-DF3A52D363A0}"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90" name="幻灯片图像占位符 1"/>
          <p:cNvSpPr>
            <a:spLocks noGrp="1" noRot="1" noChangeAspect="1"/>
          </p:cNvSpPr>
          <p:nvPr>
            <p:ph type="sldImg"/>
          </p:nvPr>
        </p:nvSpPr>
        <p:spPr/>
      </p:sp>
      <p:sp>
        <p:nvSpPr>
          <p:cNvPr id="1048691" name="备注占位符 2"/>
          <p:cNvSpPr>
            <a:spLocks noGrp="1"/>
          </p:cNvSpPr>
          <p:nvPr>
            <p:ph type="body" idx="1"/>
          </p:nvPr>
        </p:nvSpPr>
        <p:spPr/>
        <p:txBody>
          <a:bodyPr/>
          <a:lstStyle/>
          <a:p>
            <a:endParaRPr lang="zh-CN" altLang="en-US" dirty="0"/>
          </a:p>
        </p:txBody>
      </p:sp>
      <p:sp>
        <p:nvSpPr>
          <p:cNvPr id="1048692"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11DEFD6-5D26-49C8-94F1-620705E0A826}"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2" name="幻灯片图像占位符 1"/>
          <p:cNvSpPr>
            <a:spLocks noGrp="1" noRot="1" noChangeAspect="1"/>
          </p:cNvSpPr>
          <p:nvPr>
            <p:ph type="sldImg"/>
          </p:nvPr>
        </p:nvSpPr>
        <p:spPr/>
      </p:sp>
      <p:sp>
        <p:nvSpPr>
          <p:cNvPr id="1048823" name="备注占位符 2"/>
          <p:cNvSpPr>
            <a:spLocks noGrp="1"/>
          </p:cNvSpPr>
          <p:nvPr>
            <p:ph type="body" idx="1"/>
          </p:nvPr>
        </p:nvSpPr>
        <p:spPr/>
        <p:txBody>
          <a:bodyPr/>
          <a:lstStyle/>
          <a:p>
            <a:endParaRPr lang="zh-CN" altLang="en-US" dirty="0"/>
          </a:p>
        </p:txBody>
      </p:sp>
      <p:sp>
        <p:nvSpPr>
          <p:cNvPr id="104882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11DEFD6-5D26-49C8-94F1-620705E0A826}"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99" name="幻灯片图像占位符 1"/>
          <p:cNvSpPr>
            <a:spLocks noGrp="1" noRot="1" noChangeAspect="1"/>
          </p:cNvSpPr>
          <p:nvPr>
            <p:ph type="sldImg"/>
          </p:nvPr>
        </p:nvSpPr>
        <p:spPr/>
      </p:sp>
      <p:sp>
        <p:nvSpPr>
          <p:cNvPr id="1048700" name="备注占位符 2"/>
          <p:cNvSpPr>
            <a:spLocks noGrp="1"/>
          </p:cNvSpPr>
          <p:nvPr>
            <p:ph type="body" idx="1"/>
          </p:nvPr>
        </p:nvSpPr>
        <p:spPr/>
        <p:txBody>
          <a:bodyPr/>
          <a:lstStyle/>
          <a:p>
            <a:endParaRPr lang="zh-CN" altLang="en-US" dirty="0"/>
          </a:p>
        </p:txBody>
      </p:sp>
      <p:sp>
        <p:nvSpPr>
          <p:cNvPr id="1048701"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11DEFD6-5D26-49C8-94F1-620705E0A826}"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268" name="幻灯片图像占位符 1"/>
          <p:cNvSpPr>
            <a:spLocks noGrp="1" noRot="1" noChangeAspect="1"/>
          </p:cNvSpPr>
          <p:nvPr>
            <p:ph type="sldImg"/>
          </p:nvPr>
        </p:nvSpPr>
        <p:spPr/>
      </p:sp>
      <p:sp>
        <p:nvSpPr>
          <p:cNvPr id="1049269" name="备注占位符 2"/>
          <p:cNvSpPr>
            <a:spLocks noGrp="1"/>
          </p:cNvSpPr>
          <p:nvPr>
            <p:ph type="body" idx="1"/>
          </p:nvPr>
        </p:nvSpPr>
        <p:spPr/>
        <p:txBody>
          <a:bodyPr/>
          <a:lstStyle/>
          <a:p>
            <a:endParaRPr lang="zh-CN" altLang="en-US" dirty="0"/>
          </a:p>
        </p:txBody>
      </p:sp>
      <p:sp>
        <p:nvSpPr>
          <p:cNvPr id="1049270"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11DEFD6-5D26-49C8-94F1-620705E0A826}"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210" name="幻灯片图像占位符 1"/>
          <p:cNvSpPr>
            <a:spLocks noGrp="1" noRot="1" noChangeAspect="1"/>
          </p:cNvSpPr>
          <p:nvPr>
            <p:ph type="sldImg"/>
          </p:nvPr>
        </p:nvSpPr>
        <p:spPr/>
      </p:sp>
      <p:sp>
        <p:nvSpPr>
          <p:cNvPr id="1049211" name="备注占位符 2"/>
          <p:cNvSpPr>
            <a:spLocks noGrp="1"/>
          </p:cNvSpPr>
          <p:nvPr>
            <p:ph type="body" idx="1"/>
          </p:nvPr>
        </p:nvSpPr>
        <p:spPr/>
        <p:txBody>
          <a:bodyPr/>
          <a:lstStyle/>
          <a:p>
            <a:endParaRPr lang="zh-CN" altLang="en-US" dirty="0"/>
          </a:p>
        </p:txBody>
      </p:sp>
      <p:sp>
        <p:nvSpPr>
          <p:cNvPr id="1049212"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11DEFD6-5D26-49C8-94F1-620705E0A826}"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a:t>6-17CT</a:t>
            </a:r>
            <a:r>
              <a:rPr lang="zh-CN" altLang="en-US" dirty="0"/>
              <a:t>报告：</a:t>
            </a:r>
            <a:r>
              <a:rPr lang="en-US" sz="1200" b="1" kern="1200" dirty="0" err="1">
                <a:solidFill>
                  <a:schemeClr val="tx1"/>
                </a:solidFill>
                <a:latin typeface="+mn-lt"/>
                <a:ea typeface="+mn-ea"/>
                <a:cs typeface="+mn-cs"/>
              </a:rPr>
              <a:t>肺癌治疗后复查，左上肺-肺门肿块并阻塞性肺不张，范围较前稍缩小，周围阻塞性炎症较前稍减稍</a:t>
            </a:r>
            <a:r>
              <a:rPr lang="en-US" sz="1200" b="1" kern="1200" dirty="0">
                <a:solidFill>
                  <a:schemeClr val="tx1"/>
                </a:solidFill>
                <a:latin typeface="+mn-lt"/>
                <a:ea typeface="+mn-ea"/>
                <a:cs typeface="+mn-cs"/>
              </a:rPr>
              <a:t>。</a:t>
            </a:r>
            <a:r>
              <a:rPr lang="en-US" sz="1200" b="1" kern="1200" dirty="0" err="1">
                <a:solidFill>
                  <a:schemeClr val="tx1"/>
                </a:solidFill>
                <a:latin typeface="+mn-lt"/>
                <a:ea typeface="+mn-ea"/>
                <a:cs typeface="+mn-cs"/>
              </a:rPr>
              <a:t>左肺下叶背段、双肺上叶多发病灶，较前进展，炎症</a:t>
            </a:r>
            <a:r>
              <a:rPr lang="en-US" sz="1200" b="1" kern="1200" dirty="0">
                <a:solidFill>
                  <a:schemeClr val="tx1"/>
                </a:solidFill>
                <a:latin typeface="+mn-lt"/>
                <a:ea typeface="+mn-ea"/>
                <a:cs typeface="+mn-cs"/>
              </a:rPr>
              <a:t>？</a:t>
            </a:r>
            <a:r>
              <a:rPr lang="en-US" sz="1200" b="1" kern="1200" dirty="0" err="1">
                <a:solidFill>
                  <a:schemeClr val="tx1"/>
                </a:solidFill>
                <a:latin typeface="+mn-lt"/>
                <a:ea typeface="+mn-ea"/>
                <a:cs typeface="+mn-cs"/>
              </a:rPr>
              <a:t>右肺中叶内段少许纤维灶</a:t>
            </a:r>
            <a:r>
              <a:rPr lang="en-US" sz="1200" b="1" kern="1200" dirty="0">
                <a:solidFill>
                  <a:schemeClr val="tx1"/>
                </a:solidFill>
                <a:latin typeface="+mn-lt"/>
                <a:ea typeface="+mn-ea"/>
                <a:cs typeface="+mn-cs"/>
              </a:rPr>
              <a:t>。</a:t>
            </a:r>
            <a:endParaRPr lang="en-US" sz="1200" b="1" kern="1200" dirty="0">
              <a:solidFill>
                <a:schemeClr val="tx1"/>
              </a:solidFill>
              <a:latin typeface="+mn-lt"/>
              <a:ea typeface="+mn-ea"/>
              <a:cs typeface="+mn-cs"/>
            </a:endParaRPr>
          </a:p>
          <a:p>
            <a:r>
              <a:rPr lang="en-US" sz="1200" b="1" kern="1200" dirty="0" err="1">
                <a:solidFill>
                  <a:schemeClr val="tx1"/>
                </a:solidFill>
                <a:latin typeface="+mn-lt"/>
                <a:ea typeface="+mn-ea"/>
                <a:cs typeface="+mn-cs"/>
              </a:rPr>
              <a:t>纵隔、左肺门轻度增大淋巴结，与肿块分界欠清，较前相仿</a:t>
            </a:r>
            <a:r>
              <a:rPr lang="en-US" sz="1200" b="1" kern="1200" dirty="0">
                <a:solidFill>
                  <a:schemeClr val="tx1"/>
                </a:solidFill>
                <a:latin typeface="+mn-lt"/>
                <a:ea typeface="+mn-ea"/>
                <a:cs typeface="+mn-cs"/>
              </a:rPr>
              <a:t>。</a:t>
            </a:r>
            <a:endParaRPr lang="zh-CN" altLang="en-US" dirty="0"/>
          </a:p>
        </p:txBody>
      </p:sp>
      <p:sp>
        <p:nvSpPr>
          <p:cNvPr id="4" name="灯片编号占位符 3"/>
          <p:cNvSpPr>
            <a:spLocks noGrp="1"/>
          </p:cNvSpPr>
          <p:nvPr>
            <p:ph type="sldNum" sz="quarter" idx="10"/>
          </p:nvPr>
        </p:nvSpPr>
        <p:spPr/>
        <p:txBody>
          <a:bodyPr/>
          <a:lstStyle/>
          <a:p>
            <a:fld id="{39161FE2-4553-484B-8E20-56B9E40ABF1A}"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1072AD9-70EE-4E17-83F9-DF3A52D363A0}"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1072AD9-70EE-4E17-83F9-DF3A52D363A0}"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激素总量约</a:t>
            </a:r>
            <a:r>
              <a:rPr lang="en-US" altLang="zh-CN" dirty="0"/>
              <a:t>1080mg</a:t>
            </a:r>
            <a:endParaRPr lang="zh-CN" altLang="en-US" dirty="0"/>
          </a:p>
        </p:txBody>
      </p:sp>
      <p:sp>
        <p:nvSpPr>
          <p:cNvPr id="4" name="灯片编号占位符 3"/>
          <p:cNvSpPr>
            <a:spLocks noGrp="1"/>
          </p:cNvSpPr>
          <p:nvPr>
            <p:ph type="sldNum" sz="quarter" idx="10"/>
          </p:nvPr>
        </p:nvSpPr>
        <p:spPr/>
        <p:txBody>
          <a:bodyPr/>
          <a:lstStyle/>
          <a:p>
            <a:fld id="{39161FE2-4553-484B-8E20-56B9E40ABF1A}"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sz="1200" b="1" kern="1200" dirty="0">
                <a:solidFill>
                  <a:schemeClr val="tx1"/>
                </a:solidFill>
                <a:latin typeface="+mn-lt"/>
                <a:ea typeface="+mn-ea"/>
                <a:cs typeface="+mn-cs"/>
              </a:rPr>
              <a:t>5-8CT</a:t>
            </a:r>
            <a:r>
              <a:rPr lang="zh-CN" altLang="en-US" sz="1200" b="1" kern="1200" dirty="0">
                <a:solidFill>
                  <a:schemeClr val="tx1"/>
                </a:solidFill>
                <a:latin typeface="+mn-lt"/>
                <a:ea typeface="+mn-ea"/>
                <a:cs typeface="+mn-cs"/>
              </a:rPr>
              <a:t>报告：</a:t>
            </a:r>
            <a:r>
              <a:rPr lang="en-US" sz="1200" b="1" kern="1200" dirty="0" err="1">
                <a:solidFill>
                  <a:schemeClr val="tx1"/>
                </a:solidFill>
                <a:latin typeface="+mn-lt"/>
                <a:ea typeface="+mn-ea"/>
                <a:cs typeface="+mn-cs"/>
              </a:rPr>
              <a:t>与前片比较，肺癌治疗后复查，左上肺-肺门肿块较前稍大，左肺下叶背段、双肺上叶多发病灶，炎症</a:t>
            </a:r>
            <a:r>
              <a:rPr lang="en-US" sz="1200" b="1" kern="1200" dirty="0">
                <a:solidFill>
                  <a:schemeClr val="tx1"/>
                </a:solidFill>
                <a:latin typeface="+mn-lt"/>
                <a:ea typeface="+mn-ea"/>
                <a:cs typeface="+mn-cs"/>
              </a:rPr>
              <a:t>？</a:t>
            </a:r>
            <a:r>
              <a:rPr lang="en-US" sz="1200" b="1" kern="1200" dirty="0" err="1">
                <a:solidFill>
                  <a:schemeClr val="tx1"/>
                </a:solidFill>
                <a:latin typeface="+mn-lt"/>
                <a:ea typeface="+mn-ea"/>
                <a:cs typeface="+mn-cs"/>
              </a:rPr>
              <a:t>癌性淋巴管炎</a:t>
            </a:r>
            <a:r>
              <a:rPr lang="en-US" sz="1200" b="1" kern="1200" dirty="0">
                <a:solidFill>
                  <a:schemeClr val="tx1"/>
                </a:solidFill>
                <a:latin typeface="+mn-lt"/>
                <a:ea typeface="+mn-ea"/>
                <a:cs typeface="+mn-cs"/>
              </a:rPr>
              <a:t>？</a:t>
            </a:r>
            <a:r>
              <a:rPr lang="en-US" sz="1200" b="1" kern="1200" dirty="0" err="1">
                <a:solidFill>
                  <a:schemeClr val="tx1"/>
                </a:solidFill>
                <a:latin typeface="+mn-lt"/>
                <a:ea typeface="+mn-ea"/>
                <a:cs typeface="+mn-cs"/>
              </a:rPr>
              <a:t>较前密实、范围较前稍缩小，左肺上叶舌段、右肺中叶内段少许纤维灶</a:t>
            </a:r>
            <a:r>
              <a:rPr lang="en-US" sz="1200" b="1" kern="1200" dirty="0">
                <a:solidFill>
                  <a:schemeClr val="tx1"/>
                </a:solidFill>
                <a:latin typeface="+mn-lt"/>
                <a:ea typeface="+mn-ea"/>
                <a:cs typeface="+mn-cs"/>
              </a:rPr>
              <a:t>。</a:t>
            </a:r>
            <a:r>
              <a:rPr lang="en-US" sz="1200" b="1" kern="1200" dirty="0" err="1">
                <a:solidFill>
                  <a:schemeClr val="tx1"/>
                </a:solidFill>
                <a:latin typeface="+mn-lt"/>
                <a:ea typeface="+mn-ea"/>
                <a:cs typeface="+mn-cs"/>
              </a:rPr>
              <a:t>纵隔、左肺门可稍增大淋巴结，与肿块分界欠清，较前相仿</a:t>
            </a:r>
            <a:r>
              <a:rPr lang="en-US" sz="1200" b="1" kern="1200" dirty="0">
                <a:solidFill>
                  <a:schemeClr val="tx1"/>
                </a:solidFill>
                <a:latin typeface="+mn-lt"/>
                <a:ea typeface="+mn-ea"/>
                <a:cs typeface="+mn-cs"/>
              </a:rPr>
              <a:t>。</a:t>
            </a:r>
            <a:endParaRPr lang="zh-CN" altLang="en-US" dirty="0"/>
          </a:p>
        </p:txBody>
      </p:sp>
      <p:sp>
        <p:nvSpPr>
          <p:cNvPr id="4" name="灯片编号占位符 3"/>
          <p:cNvSpPr>
            <a:spLocks noGrp="1"/>
          </p:cNvSpPr>
          <p:nvPr>
            <p:ph type="sldNum" sz="quarter" idx="10"/>
          </p:nvPr>
        </p:nvSpPr>
        <p:spPr/>
        <p:txBody>
          <a:bodyPr/>
          <a:lstStyle/>
          <a:p>
            <a:fld id="{39161FE2-4553-484B-8E20-56B9E40ABF1A}"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39161FE2-4553-484B-8E20-56B9E40ABF1A}"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04" name="幻灯片图像占位符 1"/>
          <p:cNvSpPr>
            <a:spLocks noGrp="1" noRot="1" noChangeAspect="1"/>
          </p:cNvSpPr>
          <p:nvPr>
            <p:ph type="sldImg"/>
          </p:nvPr>
        </p:nvSpPr>
        <p:spPr/>
      </p:sp>
      <p:sp>
        <p:nvSpPr>
          <p:cNvPr id="1048605" name="备注占位符 2"/>
          <p:cNvSpPr>
            <a:spLocks noGrp="1"/>
          </p:cNvSpPr>
          <p:nvPr>
            <p:ph type="body" idx="1"/>
          </p:nvPr>
        </p:nvSpPr>
        <p:spPr/>
        <p:txBody>
          <a:bodyPr/>
          <a:lstStyle/>
          <a:p>
            <a:endParaRPr lang="zh-CN" altLang="en-US" dirty="0"/>
          </a:p>
        </p:txBody>
      </p:sp>
      <p:sp>
        <p:nvSpPr>
          <p:cNvPr id="1048606"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11DEFD6-5D26-49C8-94F1-620705E0A826}"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幻灯片图像占位符 1"/>
          <p:cNvSpPr>
            <a:spLocks noGrp="1" noRot="1" noChangeAspect="1"/>
          </p:cNvSpPr>
          <p:nvPr>
            <p:ph type="sldImg"/>
          </p:nvPr>
        </p:nvSpPr>
        <p:spPr/>
      </p:sp>
      <p:sp>
        <p:nvSpPr>
          <p:cNvPr id="1048629" name="备注占位符 2"/>
          <p:cNvSpPr>
            <a:spLocks noGrp="1"/>
          </p:cNvSpPr>
          <p:nvPr>
            <p:ph type="body" idx="1"/>
          </p:nvPr>
        </p:nvSpPr>
        <p:spPr/>
        <p:txBody>
          <a:bodyPr/>
          <a:lstStyle/>
          <a:p>
            <a:endParaRPr lang="zh-CN" altLang="en-US" dirty="0"/>
          </a:p>
        </p:txBody>
      </p:sp>
      <p:sp>
        <p:nvSpPr>
          <p:cNvPr id="1048630"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11DEFD6-5D26-49C8-94F1-620705E0A826}"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79" name="幻灯片图像占位符 1"/>
          <p:cNvSpPr>
            <a:spLocks noGrp="1" noRot="1" noChangeAspect="1"/>
          </p:cNvSpPr>
          <p:nvPr>
            <p:ph type="sldImg"/>
          </p:nvPr>
        </p:nvSpPr>
        <p:spPr/>
      </p:sp>
      <p:sp>
        <p:nvSpPr>
          <p:cNvPr id="1048680" name="备注占位符 2"/>
          <p:cNvSpPr>
            <a:spLocks noGrp="1"/>
          </p:cNvSpPr>
          <p:nvPr>
            <p:ph type="body" idx="1"/>
          </p:nvPr>
        </p:nvSpPr>
        <p:spPr/>
        <p:txBody>
          <a:bodyPr/>
          <a:lstStyle/>
          <a:p>
            <a:endParaRPr lang="zh-CN" altLang="en-US" dirty="0"/>
          </a:p>
        </p:txBody>
      </p:sp>
      <p:sp>
        <p:nvSpPr>
          <p:cNvPr id="1048681"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911DEFD6-5D26-49C8-94F1-620705E0A826}"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4" Type="http://schemas.openxmlformats.org/officeDocument/2006/relationships/image" Target="../media/image11.emf"/><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tags" Target="../tags/tag1.xml"/><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pPr fontAlgn="base"/>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zh-CN" altLang="en-US" strike="noStrike" noProof="1"/>
          </a:p>
        </p:txBody>
      </p:sp>
      <p:sp>
        <p:nvSpPr>
          <p:cNvPr id="4" name="日期占位符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hasCustomPrompt="1"/>
          </p:nvPr>
        </p:nvSpPr>
        <p:spPr>
          <a:xfrm>
            <a:off x="838200" y="365125"/>
            <a:ext cx="10515600" cy="5811838"/>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3" name="日期占位符 2"/>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pPr fontAlgn="base"/>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zh-CN" altLang="en-US" strike="noStrike" noProof="1"/>
          </a:p>
        </p:txBody>
      </p:sp>
      <p:sp>
        <p:nvSpPr>
          <p:cNvPr id="4" name="日期占位符 3"/>
          <p:cNvSpPr>
            <a:spLocks noGrp="1"/>
          </p:cNvSpPr>
          <p:nvPr>
            <p:ph type="dt" sz="half" idx="10"/>
          </p:nvPr>
        </p:nvSpPr>
        <p:spPr/>
        <p:txBody>
          <a:bodyPr/>
          <a:lstStyle/>
          <a:p>
            <a:pPr fontAlgn="auto">
              <a:defRPr/>
            </a:pPr>
            <a:endParaRPr lang="zh-CN" altLang="en-US" strike="noStrike" noProof="1"/>
          </a:p>
        </p:txBody>
      </p:sp>
      <p:sp>
        <p:nvSpPr>
          <p:cNvPr id="5" name="页脚占位符 4"/>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6" name="灯片编号占位符 5"/>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grpSp>
        <p:nvGrpSpPr>
          <p:cNvPr id="7" name="组合 6"/>
          <p:cNvGrpSpPr/>
          <p:nvPr userDrawn="1"/>
        </p:nvGrpSpPr>
        <p:grpSpPr>
          <a:xfrm>
            <a:off x="8799774" y="6298677"/>
            <a:ext cx="3279775" cy="466725"/>
            <a:chOff x="4500" y="10110"/>
            <a:chExt cx="5163" cy="736"/>
          </a:xfrm>
        </p:grpSpPr>
        <p:pic>
          <p:nvPicPr>
            <p:cNvPr id="8" name="图片 4" descr="微信图片_20181213105830"/>
            <p:cNvPicPr>
              <a:picLocks noChangeAspect="1"/>
            </p:cNvPicPr>
            <p:nvPr/>
          </p:nvPicPr>
          <p:blipFill>
            <a:blip r:embed="rId2" cstate="print"/>
            <a:stretch>
              <a:fillRect/>
            </a:stretch>
          </p:blipFill>
          <p:spPr>
            <a:xfrm>
              <a:off x="4500" y="10110"/>
              <a:ext cx="3275" cy="737"/>
            </a:xfrm>
            <a:prstGeom prst="rect">
              <a:avLst/>
            </a:prstGeom>
            <a:noFill/>
            <a:ln w="9525">
              <a:noFill/>
            </a:ln>
          </p:spPr>
        </p:pic>
        <p:sp>
          <p:nvSpPr>
            <p:cNvPr id="9" name="文本框 5"/>
            <p:cNvSpPr txBox="1"/>
            <p:nvPr/>
          </p:nvSpPr>
          <p:spPr>
            <a:xfrm>
              <a:off x="7775" y="10164"/>
              <a:ext cx="1888" cy="628"/>
            </a:xfrm>
            <a:prstGeom prst="rect">
              <a:avLst/>
            </a:prstGeom>
            <a:noFill/>
            <a:ln w="9525">
              <a:noFill/>
            </a:ln>
          </p:spPr>
          <p:txBody>
            <a:bodyPr wrap="none" anchor="t">
              <a:spAutoFit/>
            </a:bodyPr>
            <a:lstStyle/>
            <a:p>
              <a:pPr eaLnBrk="0" hangingPunct="0"/>
              <a:r>
                <a:rPr lang="zh-CN" altLang="en-US" sz="2000" dirty="0">
                  <a:solidFill>
                    <a:srgbClr val="024687"/>
                  </a:solidFill>
                  <a:latin typeface="华文行楷" panose="02010800040101010101" charset="-122"/>
                  <a:ea typeface="华文行楷" panose="02010800040101010101" charset="-122"/>
                </a:rPr>
                <a:t>附属二院</a:t>
              </a:r>
              <a:endParaRPr lang="zh-CN" altLang="en-US" sz="2000" dirty="0">
                <a:solidFill>
                  <a:srgbClr val="024687"/>
                </a:solidFill>
                <a:latin typeface="华文行楷" panose="02010800040101010101" charset="-122"/>
                <a:ea typeface="华文行楷" panose="02010800040101010101" charset="-122"/>
              </a:endParaRPr>
            </a:p>
          </p:txBody>
        </p:sp>
      </p:grpSp>
    </p:spTree>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idx="1" hasCustomPrompt="1"/>
          </p:nvPr>
        </p:nvSpPr>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4" name="日期占位符 3"/>
          <p:cNvSpPr>
            <a:spLocks noGrp="1"/>
          </p:cNvSpPr>
          <p:nvPr>
            <p:ph type="dt" sz="half" idx="10"/>
          </p:nvPr>
        </p:nvSpPr>
        <p:spPr/>
        <p:txBody>
          <a:bodyPr/>
          <a:lstStyle/>
          <a:p>
            <a:pPr fontAlgn="auto">
              <a:defRPr/>
            </a:pPr>
            <a:endParaRPr lang="zh-CN" altLang="en-US" strike="noStrike" noProof="1"/>
          </a:p>
        </p:txBody>
      </p:sp>
      <p:sp>
        <p:nvSpPr>
          <p:cNvPr id="5" name="页脚占位符 4"/>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6" name="灯片编号占位符 5"/>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spTree>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pPr fontAlgn="base"/>
            <a:r>
              <a:rPr lang="zh-CN" altLang="en-US" strike="noStrike" noProof="1"/>
              <a:t>单击此处编辑母版标题样式</a:t>
            </a:r>
            <a:endParaRPr lang="zh-CN" altLang="en-US" strike="noStrike" noProof="1"/>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fontAlgn="base"/>
            <a:r>
              <a:rPr lang="zh-CN" altLang="en-US" strike="noStrike" noProof="1"/>
              <a:t>编辑母版文本样式</a:t>
            </a:r>
            <a:endParaRPr lang="zh-CN" altLang="en-US" strike="noStrike" noProof="1"/>
          </a:p>
        </p:txBody>
      </p:sp>
      <p:sp>
        <p:nvSpPr>
          <p:cNvPr id="4" name="日期占位符 3"/>
          <p:cNvSpPr>
            <a:spLocks noGrp="1"/>
          </p:cNvSpPr>
          <p:nvPr>
            <p:ph type="dt" sz="half" idx="10"/>
          </p:nvPr>
        </p:nvSpPr>
        <p:spPr/>
        <p:txBody>
          <a:bodyPr/>
          <a:lstStyle/>
          <a:p>
            <a:pPr fontAlgn="auto">
              <a:defRPr/>
            </a:pPr>
            <a:endParaRPr lang="zh-CN" altLang="en-US" strike="noStrike" noProof="1"/>
          </a:p>
        </p:txBody>
      </p:sp>
      <p:sp>
        <p:nvSpPr>
          <p:cNvPr id="5" name="页脚占位符 4"/>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6" name="灯片编号占位符 5"/>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spTree>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sz="half" idx="1" hasCustomPrompt="1"/>
          </p:nvPr>
        </p:nvSpPr>
        <p:spPr>
          <a:xfrm>
            <a:off x="838200" y="1825625"/>
            <a:ext cx="5181600" cy="4351338"/>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4" name="内容占位符 3"/>
          <p:cNvSpPr>
            <a:spLocks noGrp="1"/>
          </p:cNvSpPr>
          <p:nvPr>
            <p:ph sz="half" idx="2" hasCustomPrompt="1"/>
          </p:nvPr>
        </p:nvSpPr>
        <p:spPr>
          <a:xfrm>
            <a:off x="6172200" y="1825625"/>
            <a:ext cx="5181600" cy="4351338"/>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5" name="日期占位符 4"/>
          <p:cNvSpPr>
            <a:spLocks noGrp="1"/>
          </p:cNvSpPr>
          <p:nvPr>
            <p:ph type="dt" sz="half" idx="10"/>
          </p:nvPr>
        </p:nvSpPr>
        <p:spPr/>
        <p:txBody>
          <a:bodyPr/>
          <a:lstStyle/>
          <a:p>
            <a:pPr fontAlgn="auto">
              <a:defRPr/>
            </a:pPr>
            <a:endParaRPr lang="zh-CN" altLang="en-US" strike="noStrike" noProof="1"/>
          </a:p>
        </p:txBody>
      </p:sp>
      <p:sp>
        <p:nvSpPr>
          <p:cNvPr id="6" name="页脚占位符 5"/>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7" name="灯片编号占位符 6"/>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spTree>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pPr fontAlgn="base"/>
            <a:r>
              <a:rPr lang="zh-CN" altLang="en-US" strike="noStrike" noProof="1"/>
              <a:t>单击此处编辑母版标题样式</a:t>
            </a:r>
            <a:endParaRPr lang="zh-CN" altLang="en-US" strike="noStrike" noProof="1"/>
          </a:p>
        </p:txBody>
      </p:sp>
      <p:sp>
        <p:nvSpPr>
          <p:cNvPr id="3" name="文本占位符 2"/>
          <p:cNvSpPr>
            <a:spLocks noGrp="1"/>
          </p:cNvSpPr>
          <p:nvPr>
            <p:ph type="body" idx="1" hasCustomPrompt="1"/>
          </p:nvPr>
        </p:nvSpPr>
        <p:spPr>
          <a:xfrm>
            <a:off x="1186774" y="1778438"/>
            <a:ext cx="4873574" cy="823912"/>
          </a:xfrm>
        </p:spPr>
        <p:txBody>
          <a:bodyPr anchor="ctr"/>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fontAlgn="base"/>
            <a:r>
              <a:rPr lang="zh-CN" altLang="en-US" strike="noStrike" noProof="1"/>
              <a:t>编辑母版文本样式</a:t>
            </a:r>
            <a:endParaRPr lang="zh-CN" altLang="en-US" strike="noStrike" noProof="1"/>
          </a:p>
        </p:txBody>
      </p:sp>
      <p:sp>
        <p:nvSpPr>
          <p:cNvPr id="4" name="内容占位符 3"/>
          <p:cNvSpPr>
            <a:spLocks noGrp="1"/>
          </p:cNvSpPr>
          <p:nvPr>
            <p:ph sz="half" idx="2" hasCustomPrompt="1"/>
          </p:nvPr>
        </p:nvSpPr>
        <p:spPr>
          <a:xfrm>
            <a:off x="1186774" y="2665379"/>
            <a:ext cx="4873574" cy="3524284"/>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5" name="文本占位符 4"/>
          <p:cNvSpPr>
            <a:spLocks noGrp="1"/>
          </p:cNvSpPr>
          <p:nvPr>
            <p:ph type="body" sz="quarter" idx="3" hasCustomPrompt="1"/>
          </p:nvPr>
        </p:nvSpPr>
        <p:spPr>
          <a:xfrm>
            <a:off x="6256938" y="1778438"/>
            <a:ext cx="4897576" cy="823912"/>
          </a:xfrm>
        </p:spPr>
        <p:txBody>
          <a:bodyPr anchor="ctr"/>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fontAlgn="base"/>
            <a:r>
              <a:rPr lang="zh-CN" altLang="en-US" strike="noStrike" noProof="1"/>
              <a:t>编辑母版文本样式</a:t>
            </a:r>
            <a:endParaRPr lang="zh-CN" altLang="en-US" strike="noStrike" noProof="1"/>
          </a:p>
        </p:txBody>
      </p:sp>
      <p:sp>
        <p:nvSpPr>
          <p:cNvPr id="6" name="内容占位符 5"/>
          <p:cNvSpPr>
            <a:spLocks noGrp="1"/>
          </p:cNvSpPr>
          <p:nvPr>
            <p:ph sz="quarter" idx="4" hasCustomPrompt="1"/>
          </p:nvPr>
        </p:nvSpPr>
        <p:spPr>
          <a:xfrm>
            <a:off x="6256938" y="2665379"/>
            <a:ext cx="4897576" cy="3524284"/>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7" name="日期占位符 6"/>
          <p:cNvSpPr>
            <a:spLocks noGrp="1"/>
          </p:cNvSpPr>
          <p:nvPr>
            <p:ph type="dt" sz="half" idx="10"/>
          </p:nvPr>
        </p:nvSpPr>
        <p:spPr/>
        <p:txBody>
          <a:bodyPr/>
          <a:lstStyle/>
          <a:p>
            <a:pPr fontAlgn="auto">
              <a:defRPr/>
            </a:pPr>
            <a:endParaRPr lang="zh-CN" altLang="en-US" strike="noStrike" noProof="1"/>
          </a:p>
        </p:txBody>
      </p:sp>
      <p:sp>
        <p:nvSpPr>
          <p:cNvPr id="8" name="页脚占位符 7"/>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9" name="灯片编号占位符 8"/>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spTree>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日期占位符 2"/>
          <p:cNvSpPr>
            <a:spLocks noGrp="1"/>
          </p:cNvSpPr>
          <p:nvPr>
            <p:ph type="dt" sz="half" idx="10"/>
          </p:nvPr>
        </p:nvSpPr>
        <p:spPr/>
        <p:txBody>
          <a:bodyPr/>
          <a:lstStyle/>
          <a:p>
            <a:pPr fontAlgn="auto">
              <a:defRPr/>
            </a:pPr>
            <a:endParaRPr lang="zh-CN" altLang="en-US" strike="noStrike" noProof="1"/>
          </a:p>
        </p:txBody>
      </p:sp>
      <p:sp>
        <p:nvSpPr>
          <p:cNvPr id="4" name="页脚占位符 3"/>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5" name="灯片编号占位符 4"/>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spTree>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fontAlgn="auto">
              <a:defRPr/>
            </a:pPr>
            <a:endParaRPr lang="zh-CN" altLang="en-US" strike="noStrike" noProof="1"/>
          </a:p>
        </p:txBody>
      </p:sp>
      <p:sp>
        <p:nvSpPr>
          <p:cNvPr id="3" name="页脚占位符 2"/>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4" name="灯片编号占位符 3"/>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spTree>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4165349" cy="1600200"/>
          </a:xfrm>
        </p:spPr>
        <p:txBody>
          <a:bodyPr anchor="b"/>
          <a:lstStyle>
            <a:lvl1pPr>
              <a:defRPr sz="3200"/>
            </a:lvl1pPr>
          </a:lstStyle>
          <a:p>
            <a:pPr fontAlgn="base"/>
            <a:r>
              <a:rPr lang="zh-CN" altLang="en-US" strike="noStrike" noProof="1"/>
              <a:t>单击此处编辑母版标题样式</a:t>
            </a:r>
            <a:endParaRPr lang="zh-CN" altLang="en-US" strike="noStrike" noProof="1"/>
          </a:p>
        </p:txBody>
      </p:sp>
      <p:sp>
        <p:nvSpPr>
          <p:cNvPr id="3" name="图片占位符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fontAlgn="base"/>
            <a:r>
              <a:rPr lang="zh-CN" altLang="en-US" strike="noStrike" noProof="1"/>
              <a:t>单击图标添加图片</a:t>
            </a:r>
            <a:endParaRPr lang="zh-CN" altLang="en-US" strike="noStrike" noProof="1"/>
          </a:p>
        </p:txBody>
      </p:sp>
      <p:sp>
        <p:nvSpPr>
          <p:cNvPr id="4" name="文本占位符 3"/>
          <p:cNvSpPr>
            <a:spLocks noGrp="1"/>
          </p:cNvSpPr>
          <p:nvPr>
            <p:ph type="body" sz="half" idx="2" hasCustomPrompt="1"/>
          </p:nvPr>
        </p:nvSpPr>
        <p:spPr>
          <a:xfrm>
            <a:off x="839788" y="2057400"/>
            <a:ext cx="4165349" cy="3811588"/>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fontAlgn="base"/>
            <a:r>
              <a:rPr lang="zh-CN" altLang="en-US" strike="noStrike" noProof="1"/>
              <a:t>编辑母版文本样式</a:t>
            </a:r>
            <a:endParaRPr lang="zh-CN" altLang="en-US" strike="noStrike" noProof="1"/>
          </a:p>
        </p:txBody>
      </p:sp>
      <p:sp>
        <p:nvSpPr>
          <p:cNvPr id="5" name="日期占位符 4"/>
          <p:cNvSpPr>
            <a:spLocks noGrp="1"/>
          </p:cNvSpPr>
          <p:nvPr>
            <p:ph type="dt" sz="half" idx="10"/>
          </p:nvPr>
        </p:nvSpPr>
        <p:spPr/>
        <p:txBody>
          <a:bodyPr/>
          <a:lstStyle/>
          <a:p>
            <a:pPr fontAlgn="auto">
              <a:defRPr/>
            </a:pPr>
            <a:endParaRPr lang="zh-CN" altLang="en-US" strike="noStrike" noProof="1"/>
          </a:p>
        </p:txBody>
      </p:sp>
      <p:sp>
        <p:nvSpPr>
          <p:cNvPr id="6" name="页脚占位符 5"/>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7" name="灯片编号占位符 6"/>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spTree>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pPr fontAlgn="base"/>
            <a:r>
              <a:rPr lang="zh-CN" altLang="en-US" strike="noStrike" noProof="1"/>
              <a:t>单击此处编辑母版标题样式</a:t>
            </a:r>
            <a:endParaRPr lang="zh-CN" altLang="en-US" strike="noStrike" noProof="1"/>
          </a:p>
        </p:txBody>
      </p:sp>
      <p:sp>
        <p:nvSpPr>
          <p:cNvPr id="3" name="竖排文字占位符 2"/>
          <p:cNvSpPr>
            <a:spLocks noGrp="1"/>
          </p:cNvSpPr>
          <p:nvPr>
            <p:ph type="body" orient="vert" idx="1" hasCustomPrompt="1"/>
          </p:nvPr>
        </p:nvSpPr>
        <p:spPr>
          <a:xfrm>
            <a:off x="838200" y="365125"/>
            <a:ext cx="7734300" cy="5811838"/>
          </a:xfrm>
        </p:spPr>
        <p:txBody>
          <a:bodyPr vert="eaVert"/>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4" name="日期占位符 3"/>
          <p:cNvSpPr>
            <a:spLocks noGrp="1"/>
          </p:cNvSpPr>
          <p:nvPr>
            <p:ph type="dt" sz="half" idx="10"/>
          </p:nvPr>
        </p:nvSpPr>
        <p:spPr/>
        <p:txBody>
          <a:bodyPr/>
          <a:lstStyle/>
          <a:p>
            <a:pPr fontAlgn="auto">
              <a:defRPr/>
            </a:pPr>
            <a:endParaRPr lang="zh-CN" altLang="en-US" strike="noStrike" noProof="1"/>
          </a:p>
        </p:txBody>
      </p:sp>
      <p:sp>
        <p:nvSpPr>
          <p:cNvPr id="5" name="页脚占位符 4"/>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6" name="灯片编号占位符 5"/>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spTree>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idx="1" hasCustomPrompt="1"/>
          </p:nvPr>
        </p:nvSpPr>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4" name="日期占位符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hasCustomPrompt="1"/>
          </p:nvPr>
        </p:nvSpPr>
        <p:spPr>
          <a:xfrm>
            <a:off x="838200" y="365125"/>
            <a:ext cx="10515600" cy="5811838"/>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3" name="日期占位符 2"/>
          <p:cNvSpPr>
            <a:spLocks noGrp="1"/>
          </p:cNvSpPr>
          <p:nvPr>
            <p:ph type="dt" sz="half" idx="10"/>
          </p:nvPr>
        </p:nvSpPr>
        <p:spPr/>
        <p:txBody>
          <a:bodyPr/>
          <a:lstStyle/>
          <a:p>
            <a:pPr fontAlgn="auto">
              <a:defRPr/>
            </a:pPr>
            <a:endParaRPr lang="zh-CN" altLang="en-US" strike="noStrike" noProof="1"/>
          </a:p>
        </p:txBody>
      </p:sp>
      <p:sp>
        <p:nvSpPr>
          <p:cNvPr id="4" name="页脚占位符 3"/>
          <p:cNvSpPr>
            <a:spLocks noGrp="1"/>
          </p:cNvSpPr>
          <p:nvPr>
            <p:ph type="ftr" sz="quarter" idx="11"/>
          </p:nvPr>
        </p:nvSpPr>
        <p:spPr/>
        <p:txBody>
          <a:body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5" name="灯片编号占位符 4"/>
          <p:cNvSpPr>
            <a:spLocks noGrp="1"/>
          </p:cNvSpPr>
          <p:nvPr>
            <p:ph type="sldNum" sz="quarter" idx="12"/>
          </p:nvPr>
        </p:nvSpPr>
        <p:spPr/>
        <p:txBody>
          <a:body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spTree>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14" name="平行四边形 13"/>
          <p:cNvSpPr/>
          <p:nvPr/>
        </p:nvSpPr>
        <p:spPr>
          <a:xfrm>
            <a:off x="8976320" y="6099408"/>
            <a:ext cx="3119669" cy="648072"/>
          </a:xfrm>
          <a:prstGeom prst="parallelogram">
            <a:avLst/>
          </a:prstGeom>
          <a:solidFill>
            <a:srgbClr val="7C233E"/>
          </a:solidFill>
          <a:ln>
            <a:solidFill>
              <a:srgbClr val="7C233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3" name="Content Placeholder 2"/>
          <p:cNvSpPr>
            <a:spLocks noGrp="1"/>
          </p:cNvSpPr>
          <p:nvPr>
            <p:ph idx="1"/>
          </p:nvPr>
        </p:nvSpPr>
        <p:spPr>
          <a:xfrm>
            <a:off x="838200" y="1268761"/>
            <a:ext cx="10515600" cy="4908203"/>
          </a:xfrm>
        </p:spPr>
        <p:txBody>
          <a:bodyPr vert="horz" lIns="91440" tIns="45720" rIns="91440" bIns="45720" rtlCol="0">
            <a:normAutofit/>
          </a:bodyPr>
          <a:lstStyle>
            <a:lvl1pPr>
              <a:defRPr lang="zh-CN" altLang="en-US" sz="1800" dirty="0" smtClean="0"/>
            </a:lvl1pPr>
            <a:lvl2pPr>
              <a:defRPr lang="zh-CN" altLang="en-US" sz="1600" dirty="0" smtClean="0"/>
            </a:lvl2pPr>
            <a:lvl3pPr>
              <a:defRPr lang="zh-CN" altLang="en-US" sz="1400" dirty="0" smtClean="0"/>
            </a:lvl3pPr>
            <a:lvl4pPr>
              <a:defRPr lang="zh-CN" altLang="en-US" sz="1200" dirty="0" smtClean="0"/>
            </a:lvl4pPr>
            <a:lvl5pPr>
              <a:defRPr lang="en-US" sz="1200" dirty="0"/>
            </a:lvl5pPr>
          </a:lstStyle>
          <a:p>
            <a:pPr lvl="0">
              <a:lnSpc>
                <a:spcPct val="120000"/>
              </a:lnSpc>
              <a:spcBef>
                <a:spcPts val="600"/>
              </a:spcBef>
            </a:pPr>
            <a:r>
              <a:rPr lang="zh-CN" altLang="en-US"/>
              <a:t>单击此处编辑母版文本样式</a:t>
            </a:r>
            <a:endParaRPr lang="zh-CN" altLang="en-US"/>
          </a:p>
          <a:p>
            <a:pPr lvl="1">
              <a:lnSpc>
                <a:spcPct val="120000"/>
              </a:lnSpc>
              <a:spcBef>
                <a:spcPts val="600"/>
              </a:spcBef>
            </a:pPr>
            <a:r>
              <a:rPr lang="zh-CN" altLang="en-US"/>
              <a:t>第二级</a:t>
            </a:r>
            <a:endParaRPr lang="zh-CN" altLang="en-US"/>
          </a:p>
          <a:p>
            <a:pPr lvl="2">
              <a:lnSpc>
                <a:spcPct val="120000"/>
              </a:lnSpc>
              <a:spcBef>
                <a:spcPts val="600"/>
              </a:spcBef>
            </a:pPr>
            <a:r>
              <a:rPr lang="zh-CN" altLang="en-US"/>
              <a:t>第三级</a:t>
            </a:r>
            <a:endParaRPr lang="zh-CN" altLang="en-US"/>
          </a:p>
          <a:p>
            <a:pPr lvl="3">
              <a:lnSpc>
                <a:spcPct val="120000"/>
              </a:lnSpc>
              <a:spcBef>
                <a:spcPts val="600"/>
              </a:spcBef>
            </a:pPr>
            <a:r>
              <a:rPr lang="zh-CN" altLang="en-US"/>
              <a:t>第四级</a:t>
            </a:r>
            <a:endParaRPr lang="zh-CN" altLang="en-US"/>
          </a:p>
          <a:p>
            <a:pPr lvl="4">
              <a:lnSpc>
                <a:spcPct val="120000"/>
              </a:lnSpc>
              <a:spcBef>
                <a:spcPts val="600"/>
              </a:spcBef>
            </a:pPr>
            <a:r>
              <a:rPr lang="zh-CN" altLang="en-US"/>
              <a:t>第五级</a:t>
            </a:r>
            <a:endParaRPr lang="en-US" dirty="0"/>
          </a:p>
        </p:txBody>
      </p:sp>
      <p:sp>
        <p:nvSpPr>
          <p:cNvPr id="4" name="Date Placeholder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9113755" y="5393112"/>
            <a:ext cx="2844800" cy="365125"/>
          </a:xfrm>
        </p:spPr>
        <p:txBody>
          <a:bodyPr/>
          <a:lstStyle/>
          <a:p>
            <a:fld id="{9821390D-C681-4C84-8067-48A0CF0288DE}" type="slidenum">
              <a:rPr lang="zh-CN" altLang="en-US" smtClean="0"/>
            </a:fld>
            <a:endParaRPr lang="zh-CN" altLang="en-US"/>
          </a:p>
        </p:txBody>
      </p:sp>
      <p:sp>
        <p:nvSpPr>
          <p:cNvPr id="13" name="平行四边形 12"/>
          <p:cNvSpPr/>
          <p:nvPr/>
        </p:nvSpPr>
        <p:spPr>
          <a:xfrm>
            <a:off x="239349" y="6432412"/>
            <a:ext cx="8640960" cy="315068"/>
          </a:xfrm>
          <a:prstGeom prst="parallelogram">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grpSp>
        <p:nvGrpSpPr>
          <p:cNvPr id="7" name="组合 14"/>
          <p:cNvGrpSpPr/>
          <p:nvPr/>
        </p:nvGrpSpPr>
        <p:grpSpPr>
          <a:xfrm>
            <a:off x="239349" y="275722"/>
            <a:ext cx="11809312" cy="648072"/>
            <a:chOff x="179512" y="548680"/>
            <a:chExt cx="8856984" cy="648072"/>
          </a:xfrm>
        </p:grpSpPr>
        <p:sp>
          <p:nvSpPr>
            <p:cNvPr id="16" name="平行四边形 15"/>
            <p:cNvSpPr/>
            <p:nvPr/>
          </p:nvSpPr>
          <p:spPr>
            <a:xfrm>
              <a:off x="179512" y="548680"/>
              <a:ext cx="648072" cy="648072"/>
            </a:xfrm>
            <a:prstGeom prst="parallelogram">
              <a:avLst/>
            </a:prstGeom>
            <a:solidFill>
              <a:srgbClr val="7C233E"/>
            </a:solidFill>
            <a:ln>
              <a:solidFill>
                <a:srgbClr val="7C233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17" name="平行四边形 16"/>
            <p:cNvSpPr/>
            <p:nvPr/>
          </p:nvSpPr>
          <p:spPr>
            <a:xfrm>
              <a:off x="827584" y="548680"/>
              <a:ext cx="8208912" cy="648072"/>
            </a:xfrm>
            <a:prstGeom prst="parallelogram">
              <a:avLst/>
            </a:prstGeom>
            <a:solidFill>
              <a:schemeClr val="bg1">
                <a:lumMod val="9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grpSp>
      <p:sp>
        <p:nvSpPr>
          <p:cNvPr id="2" name="Title 1"/>
          <p:cNvSpPr>
            <a:spLocks noGrp="1"/>
          </p:cNvSpPr>
          <p:nvPr>
            <p:ph type="title"/>
          </p:nvPr>
        </p:nvSpPr>
        <p:spPr>
          <a:xfrm>
            <a:off x="2590933" y="-603448"/>
            <a:ext cx="9601067" cy="341194"/>
          </a:xfrm>
        </p:spPr>
        <p:txBody>
          <a:bodyPr vert="horz" lIns="91440" tIns="45720" rIns="91440" bIns="45720" rtlCol="0" anchor="ctr">
            <a:noAutofit/>
          </a:bodyPr>
          <a:lstStyle>
            <a:lvl1pPr>
              <a:defRPr lang="en-US" sz="2400" b="1" dirty="0">
                <a:latin typeface="+mn-lt"/>
                <a:ea typeface="+mn-ea"/>
                <a:cs typeface="+mn-cs"/>
              </a:defRPr>
            </a:lvl1pPr>
          </a:lstStyle>
          <a:p>
            <a:pPr marL="0" lvl="0" defTabSz="457200"/>
            <a:r>
              <a:rPr lang="zh-CN" altLang="en-US"/>
              <a:t>单击此处编辑母版标题样式</a:t>
            </a:r>
            <a:endParaRPr lang="en-US" dirty="0"/>
          </a:p>
        </p:txBody>
      </p:sp>
      <p:sp>
        <p:nvSpPr>
          <p:cNvPr id="12" name="Content Placeholder 2"/>
          <p:cNvSpPr>
            <a:spLocks noGrp="1"/>
          </p:cNvSpPr>
          <p:nvPr>
            <p:ph idx="13"/>
          </p:nvPr>
        </p:nvSpPr>
        <p:spPr>
          <a:xfrm>
            <a:off x="481787" y="5445224"/>
            <a:ext cx="8352928" cy="336680"/>
          </a:xfrm>
        </p:spPr>
        <p:txBody>
          <a:bodyPr vert="horz" lIns="91440" tIns="0" rIns="91440" bIns="0" rtlCol="0" anchor="ctr">
            <a:normAutofit/>
          </a:bodyPr>
          <a:lstStyle>
            <a:lvl1pPr marL="0" indent="0">
              <a:lnSpc>
                <a:spcPct val="100000"/>
              </a:lnSpc>
              <a:spcBef>
                <a:spcPts val="0"/>
              </a:spcBef>
              <a:buNone/>
              <a:defRPr lang="zh-CN" altLang="en-US" sz="1100" dirty="0" smtClean="0"/>
            </a:lvl1pPr>
            <a:lvl2pPr>
              <a:defRPr lang="zh-CN" altLang="en-US" sz="1600" dirty="0" smtClean="0"/>
            </a:lvl2pPr>
            <a:lvl3pPr>
              <a:defRPr lang="zh-CN" altLang="en-US" sz="1400" dirty="0" smtClean="0"/>
            </a:lvl3pPr>
            <a:lvl4pPr>
              <a:defRPr lang="zh-CN" altLang="en-US" sz="1200" dirty="0" smtClean="0"/>
            </a:lvl4pPr>
            <a:lvl5pPr>
              <a:defRPr lang="en-US" sz="1200" dirty="0"/>
            </a:lvl5pPr>
          </a:lstStyle>
          <a:p>
            <a:pPr lvl="0">
              <a:lnSpc>
                <a:spcPct val="120000"/>
              </a:lnSpc>
              <a:spcBef>
                <a:spcPts val="600"/>
              </a:spcBef>
            </a:pPr>
            <a:r>
              <a:rPr lang="zh-CN" altLang="en-US"/>
              <a:t>单击此处编辑母版文本样式</a:t>
            </a:r>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zh-CN" altLang="en-US"/>
              <a:t>单击此处编辑母版标题样式</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2032000" y="20472"/>
            <a:ext cx="10972800" cy="1143000"/>
          </a:xfrm>
        </p:spPr>
        <p:txBody>
          <a:bodyPr>
            <a:normAutofit/>
          </a:bodyPr>
          <a:lstStyle>
            <a:lvl1pPr algn="l">
              <a:defRPr sz="3400" b="1">
                <a:latin typeface="微软雅黑" panose="020B0503020204020204" charset="-122"/>
                <a:ea typeface="微软雅黑" panose="020B0503020204020204" charset="-122"/>
              </a:defRPr>
            </a:lvl1pPr>
          </a:lstStyle>
          <a:p>
            <a:r>
              <a:rPr lang="zh-CN" altLang="en-US"/>
              <a:t>单击此处编辑母版标题样式</a:t>
            </a:r>
            <a:endParaRPr lang="en-US" dirty="0"/>
          </a:p>
        </p:txBody>
      </p:sp>
      <p:sp>
        <p:nvSpPr>
          <p:cNvPr id="3" name="Content Placeholder 2"/>
          <p:cNvSpPr>
            <a:spLocks noGrp="1"/>
          </p:cNvSpPr>
          <p:nvPr>
            <p:ph idx="1"/>
          </p:nvPr>
        </p:nvSpPr>
        <p:spPr>
          <a:xfrm>
            <a:off x="719403" y="1340769"/>
            <a:ext cx="10972800" cy="4525963"/>
          </a:xfrm>
        </p:spPr>
        <p:txBody>
          <a:bodyPr/>
          <a:lstStyle>
            <a:lvl1pPr>
              <a:defRPr sz="2400">
                <a:latin typeface="黑体" panose="02010609060101010101" pitchFamily="49" charset="-122"/>
                <a:ea typeface="黑体" panose="02010609060101010101" pitchFamily="49" charset="-122"/>
              </a:defRPr>
            </a:lvl1pPr>
            <a:lvl2pPr>
              <a:defRPr sz="2000">
                <a:latin typeface="黑体" panose="02010609060101010101" pitchFamily="49" charset="-122"/>
                <a:ea typeface="黑体" panose="02010609060101010101" pitchFamily="49" charset="-122"/>
              </a:defRPr>
            </a:lvl2pPr>
            <a:lvl3pPr>
              <a:defRPr sz="1800">
                <a:latin typeface="黑体" panose="02010609060101010101" pitchFamily="49" charset="-122"/>
                <a:ea typeface="黑体" panose="02010609060101010101" pitchFamily="49" charset="-122"/>
              </a:defRPr>
            </a:lvl3pPr>
            <a:lvl4pPr>
              <a:defRPr sz="1600">
                <a:latin typeface="黑体" panose="02010609060101010101" pitchFamily="49" charset="-122"/>
                <a:ea typeface="黑体" panose="02010609060101010101" pitchFamily="49" charset="-122"/>
              </a:defRPr>
            </a:lvl4pPr>
            <a:lvl5pPr>
              <a:defRPr>
                <a:latin typeface="黑体" panose="02010609060101010101" pitchFamily="49" charset="-122"/>
                <a:ea typeface="黑体" panose="02010609060101010101" pitchFamily="49" charset="-122"/>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21390D-C681-4C84-8067-48A0CF0288DE}" type="slidenum">
              <a:rPr lang="zh-CN" altLang="en-US" smtClean="0"/>
            </a:fld>
            <a:endParaRPr lang="zh-CN" altLang="en-US"/>
          </a:p>
        </p:txBody>
      </p:sp>
      <p:pic>
        <p:nvPicPr>
          <p:cNvPr id="12" name="图片 11"/>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9168341" y="6237312"/>
            <a:ext cx="2784795" cy="412750"/>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zh-CN" altLang="en-US"/>
              <a:t>单击此处编辑母版标题样式</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endParaRPr lang="zh-CN" altLang="en-US"/>
          </a:p>
        </p:txBody>
      </p:sp>
      <p:sp>
        <p:nvSpPr>
          <p:cNvPr id="4" name="Date Placeholder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5" name="Date Placeholder 4"/>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9821390D-C681-4C84-8067-48A0CF0288DE}" type="slidenum">
              <a:rPr lang="zh-CN" altLang="en-US" smtClean="0"/>
            </a:fld>
            <a:endParaRPr lang="zh-CN" altLang="en-US"/>
          </a:p>
        </p:txBody>
      </p:sp>
      <p:pic>
        <p:nvPicPr>
          <p:cNvPr id="8" name="图片 7"/>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9168341" y="6237312"/>
            <a:ext cx="2784795" cy="412750"/>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a:t>单击此处编辑母版标题样式</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7" name="Date Placeholder 6"/>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Date Placeholder 2"/>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zh-CN" altLang="en-US"/>
              <a:t>单击此处编辑母版标题样式</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Date Placeholder 4"/>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pPr fontAlgn="base"/>
            <a:r>
              <a:rPr lang="zh-CN" altLang="en-US" strike="noStrike" noProof="1"/>
              <a:t>单击此处编辑母版标题样式</a:t>
            </a:r>
            <a:endParaRPr lang="zh-CN" altLang="en-US" strike="noStrike" noProof="1"/>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fontAlgn="base"/>
            <a:r>
              <a:rPr lang="zh-CN" altLang="en-US" strike="noStrike" noProof="1"/>
              <a:t>编辑母版文本样式</a:t>
            </a:r>
            <a:endParaRPr lang="zh-CN" altLang="en-US" strike="noStrike" noProof="1"/>
          </a:p>
        </p:txBody>
      </p:sp>
      <p:sp>
        <p:nvSpPr>
          <p:cNvPr id="4" name="日期占位符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zh-CN" altLang="en-US"/>
              <a:t>单击此处编辑母版标题样式</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Date Placeholder 4"/>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4" name="Date Placeholder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zh-CN" altLang="en-US"/>
              <a:t>单击此处编辑母版标题样式</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4" name="Date Placeholder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content, footnotes">
    <p:spTree>
      <p:nvGrpSpPr>
        <p:cNvPr id="1" name=""/>
        <p:cNvGrpSpPr/>
        <p:nvPr/>
      </p:nvGrpSpPr>
      <p:grpSpPr>
        <a:xfrm>
          <a:off x="0" y="0"/>
          <a:ext cx="0" cy="0"/>
          <a:chOff x="0" y="0"/>
          <a:chExt cx="0" cy="0"/>
        </a:xfrm>
      </p:grpSpPr>
      <p:sp>
        <p:nvSpPr>
          <p:cNvPr id="5" name="Rectangle 9"/>
          <p:cNvSpPr/>
          <p:nvPr/>
        </p:nvSpPr>
        <p:spPr>
          <a:xfrm>
            <a:off x="0" y="1062039"/>
            <a:ext cx="12168717" cy="58324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anchor="ctr"/>
          <a:lstStyle>
            <a:lvl1pPr>
              <a:defRPr sz="2400">
                <a:solidFill>
                  <a:schemeClr val="tx1"/>
                </a:solidFill>
                <a:latin typeface="Times New Roman" panose="02020603050405020304" pitchFamily="18" charset="0"/>
                <a:ea typeface="宋体" panose="02010600030101010101" pitchFamily="2" charset="-122"/>
              </a:defRPr>
            </a:lvl1pPr>
            <a:lvl2pPr>
              <a:defRPr sz="2400">
                <a:solidFill>
                  <a:schemeClr val="tx1"/>
                </a:solidFill>
                <a:latin typeface="Times New Roman" panose="02020603050405020304" pitchFamily="18" charset="0"/>
                <a:ea typeface="宋体" panose="02010600030101010101" pitchFamily="2" charset="-122"/>
              </a:defRPr>
            </a:lvl2pPr>
            <a:lvl3pPr>
              <a:defRPr sz="2400">
                <a:solidFill>
                  <a:schemeClr val="tx1"/>
                </a:solidFill>
                <a:latin typeface="Times New Roman" panose="02020603050405020304" pitchFamily="18" charset="0"/>
                <a:ea typeface="宋体" panose="02010600030101010101" pitchFamily="2" charset="-122"/>
              </a:defRPr>
            </a:lvl3pPr>
            <a:lvl4pPr>
              <a:defRPr sz="2400">
                <a:solidFill>
                  <a:schemeClr val="tx1"/>
                </a:solidFill>
                <a:latin typeface="Times New Roman" panose="02020603050405020304" pitchFamily="18" charset="0"/>
                <a:ea typeface="宋体" panose="02010600030101010101" pitchFamily="2" charset="-122"/>
              </a:defRPr>
            </a:lvl4pPr>
            <a:lvl5pPr>
              <a:defRPr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imes New Roman" panose="02020603050405020304" pitchFamily="18" charset="0"/>
                <a:ea typeface="宋体" panose="02010600030101010101" pitchFamily="2" charset="-122"/>
              </a:defRPr>
            </a:lvl9pPr>
          </a:lstStyle>
          <a:p>
            <a:pPr algn="ctr"/>
            <a:endParaRPr lang="en-GB" altLang="en-US" sz="1800">
              <a:solidFill>
                <a:srgbClr val="FFFFFF"/>
              </a:solidFill>
              <a:latin typeface="Calibri" panose="020F0502020204030204" pitchFamily="34" charset="0"/>
            </a:endParaRPr>
          </a:p>
        </p:txBody>
      </p:sp>
      <p:cxnSp>
        <p:nvCxnSpPr>
          <p:cNvPr id="6" name="Straight Connector 3"/>
          <p:cNvCxnSpPr/>
          <p:nvPr/>
        </p:nvCxnSpPr>
        <p:spPr>
          <a:xfrm>
            <a:off x="0" y="1050925"/>
            <a:ext cx="12192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Text Placeholder 10"/>
          <p:cNvSpPr>
            <a:spLocks noGrp="1"/>
          </p:cNvSpPr>
          <p:nvPr>
            <p:ph type="body" sz="quarter" idx="14"/>
          </p:nvPr>
        </p:nvSpPr>
        <p:spPr>
          <a:xfrm>
            <a:off x="431371" y="6271712"/>
            <a:ext cx="11304000" cy="504825"/>
          </a:xfrm>
        </p:spPr>
        <p:txBody>
          <a:bodyPr lIns="0" anchor="b">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zh-CN" altLang="en-US" noProof="1"/>
              <a:t>单击此处编辑母版文本样式</a:t>
            </a:r>
            <a:endParaRPr lang="zh-CN" altLang="en-US" noProof="1"/>
          </a:p>
        </p:txBody>
      </p:sp>
      <p:sp>
        <p:nvSpPr>
          <p:cNvPr id="7" name="Title 1"/>
          <p:cNvSpPr>
            <a:spLocks noGrp="1"/>
          </p:cNvSpPr>
          <p:nvPr>
            <p:ph type="title"/>
          </p:nvPr>
        </p:nvSpPr>
        <p:spPr>
          <a:xfrm>
            <a:off x="431371" y="188641"/>
            <a:ext cx="11304000" cy="720080"/>
          </a:xfrm>
        </p:spPr>
        <p:txBody>
          <a:bodyPr lIns="0" anchor="b">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zh-CN" altLang="en-US" noProof="1"/>
              <a:t>单击此处编辑母版标题样式</a:t>
            </a:r>
            <a:endParaRPr lang="en-GB" noProof="1"/>
          </a:p>
        </p:txBody>
      </p:sp>
      <p:sp>
        <p:nvSpPr>
          <p:cNvPr id="3" name="Text Placeholder 2"/>
          <p:cNvSpPr>
            <a:spLocks noGrp="1"/>
          </p:cNvSpPr>
          <p:nvPr>
            <p:ph type="body" sz="quarter" idx="15"/>
          </p:nvPr>
        </p:nvSpPr>
        <p:spPr>
          <a:xfrm>
            <a:off x="431800" y="1271377"/>
            <a:ext cx="11304000" cy="4751387"/>
          </a:xfrm>
        </p:spPr>
        <p:txBody>
          <a:bodyPr lIns="0"/>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zh-CN" altLang="en-US" noProof="1"/>
              <a:t>单击此处编辑母版文本样式</a:t>
            </a:r>
            <a:endParaRPr lang="zh-CN" altLang="en-US" noProof="1"/>
          </a:p>
          <a:p>
            <a:pPr lvl="1"/>
            <a:r>
              <a:rPr lang="zh-CN" altLang="en-US" noProof="1"/>
              <a:t>第二级</a:t>
            </a:r>
            <a:endParaRPr lang="zh-CN" altLang="en-US" noProof="1"/>
          </a:p>
        </p:txBody>
      </p:sp>
      <p:sp>
        <p:nvSpPr>
          <p:cNvPr id="8" name="日期占位符 3"/>
          <p:cNvSpPr>
            <a:spLocks noGrp="1"/>
          </p:cNvSpPr>
          <p:nvPr>
            <p:ph type="dt" sz="half" idx="16"/>
          </p:nvPr>
        </p:nvSpPr>
        <p:spPr/>
        <p:txBody>
          <a:bodyPr/>
          <a:lstStyle>
            <a:lvl1pPr>
              <a:defRPr/>
            </a:lvl1pPr>
          </a:lstStyle>
          <a:p>
            <a:fld id="{9C8CC653-EFC1-4CCC-9EAE-3A7A866ABCEC}" type="datetimeFigureOut">
              <a:rPr lang="zh-CN" altLang="en-US" smtClean="0"/>
            </a:fld>
            <a:endParaRPr lang="zh-CN" altLang="en-US"/>
          </a:p>
        </p:txBody>
      </p:sp>
      <p:sp>
        <p:nvSpPr>
          <p:cNvPr id="10" name="页脚占位符 4"/>
          <p:cNvSpPr>
            <a:spLocks noGrp="1"/>
          </p:cNvSpPr>
          <p:nvPr>
            <p:ph type="ftr" sz="quarter" idx="17"/>
          </p:nvPr>
        </p:nvSpPr>
        <p:spPr/>
        <p:txBody>
          <a:bodyPr/>
          <a:lstStyle>
            <a:lvl1pPr>
              <a:defRPr/>
            </a:lvl1pPr>
          </a:lstStyle>
          <a:p>
            <a:pPr>
              <a:defRPr/>
            </a:pPr>
            <a:endParaRPr lang="zh-CN" altLang="en-US"/>
          </a:p>
        </p:txBody>
      </p:sp>
      <p:sp>
        <p:nvSpPr>
          <p:cNvPr id="11" name="灯片编号占位符 5"/>
          <p:cNvSpPr>
            <a:spLocks noGrp="1"/>
          </p:cNvSpPr>
          <p:nvPr>
            <p:ph type="sldNum" sz="quarter" idx="18"/>
          </p:nvPr>
        </p:nvSpPr>
        <p:spPr/>
        <p:txBody>
          <a:bodyPr/>
          <a:lstStyle>
            <a:lvl1pPr>
              <a:defRPr/>
            </a:lvl1pPr>
          </a:lstStyle>
          <a:p>
            <a:fld id="{9821390D-C681-4C84-8067-48A0CF0288DE}" type="slidenum">
              <a:rPr lang="zh-CN" altLang="en-US" smtClean="0"/>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2385484" y="606425"/>
            <a:ext cx="9582149" cy="382588"/>
          </a:xfrm>
        </p:spPr>
        <p:txBody>
          <a:bodyPr/>
          <a:lstStyle/>
          <a:p>
            <a:r>
              <a:rPr lang="zh-CN" altLang="en-US" noProof="1"/>
              <a:t>单击此处编辑母版标题样式</a:t>
            </a:r>
            <a:endParaRPr lang="zh-CN" altLang="en-US" noProof="1"/>
          </a:p>
        </p:txBody>
      </p:sp>
      <p:sp>
        <p:nvSpPr>
          <p:cNvPr id="3" name="文本占位符 2"/>
          <p:cNvSpPr>
            <a:spLocks noGrp="1"/>
          </p:cNvSpPr>
          <p:nvPr>
            <p:ph type="body" sz="half" idx="1"/>
          </p:nvPr>
        </p:nvSpPr>
        <p:spPr>
          <a:xfrm>
            <a:off x="493185" y="1522414"/>
            <a:ext cx="5575300" cy="4537075"/>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4" name="内容占位符 3"/>
          <p:cNvSpPr>
            <a:spLocks noGrp="1"/>
          </p:cNvSpPr>
          <p:nvPr>
            <p:ph sz="half" idx="2"/>
          </p:nvPr>
        </p:nvSpPr>
        <p:spPr>
          <a:xfrm>
            <a:off x="6271684" y="1522414"/>
            <a:ext cx="5577416" cy="4537075"/>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3" y="294811"/>
            <a:ext cx="10102852" cy="430887"/>
          </a:xfrm>
        </p:spPr>
        <p:txBody>
          <a:bodyPr/>
          <a:lstStyle>
            <a:lvl1pPr>
              <a:defRPr sz="2800" baseline="0">
                <a:latin typeface="Arial" panose="020B0604020202020204" pitchFamily="34" charset="0"/>
                <a:ea typeface="微软雅黑" panose="020B0503020204020204" charset="-122"/>
              </a:defRPr>
            </a:lvl1pPr>
          </a:lstStyle>
          <a:p>
            <a:r>
              <a:rPr lang="zh-CN" altLang="en-US" noProof="1"/>
              <a:t>单击此处编辑母版标题样式</a:t>
            </a:r>
            <a:endParaRPr lang="en-GB" noProof="1"/>
          </a:p>
        </p:txBody>
      </p:sp>
      <p:sp>
        <p:nvSpPr>
          <p:cNvPr id="16" name="Content Placeholder 15"/>
          <p:cNvSpPr>
            <a:spLocks noGrp="1"/>
          </p:cNvSpPr>
          <p:nvPr>
            <p:ph sz="quarter" idx="12"/>
          </p:nvPr>
        </p:nvSpPr>
        <p:spPr>
          <a:xfrm>
            <a:off x="486833" y="1196152"/>
            <a:ext cx="11231033" cy="4658549"/>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en-GB" noProof="1"/>
          </a:p>
        </p:txBody>
      </p:sp>
      <p:sp>
        <p:nvSpPr>
          <p:cNvPr id="8" name="Text Placeholder 2"/>
          <p:cNvSpPr>
            <a:spLocks noGrp="1"/>
          </p:cNvSpPr>
          <p:nvPr>
            <p:ph type="body" sz="quarter" idx="14"/>
          </p:nvPr>
        </p:nvSpPr>
        <p:spPr>
          <a:xfrm>
            <a:off x="486832" y="692554"/>
            <a:ext cx="10130368" cy="234950"/>
          </a:xfrm>
        </p:spPr>
        <p:txBody>
          <a:bodyPr/>
          <a:lstStyle>
            <a:lvl1pPr marL="0" indent="0">
              <a:spcAft>
                <a:spcPts val="0"/>
              </a:spcAft>
              <a:buNone/>
              <a:defRPr sz="1800" baseline="0">
                <a:latin typeface="Arial" panose="020B0604020202020204" pitchFamily="34" charset="0"/>
                <a:ea typeface="微软雅黑" panose="020B0503020204020204" charset="-122"/>
              </a:defRPr>
            </a:lvl1pPr>
            <a:lvl2pPr marL="271780" indent="0">
              <a:buNone/>
              <a:defRPr/>
            </a:lvl2pPr>
            <a:lvl3pPr marL="533400" indent="0">
              <a:buNone/>
              <a:defRPr/>
            </a:lvl3pPr>
            <a:lvl4pPr marL="815975" indent="0">
              <a:buNone/>
              <a:defRPr/>
            </a:lvl4pPr>
            <a:lvl5pPr marL="1104900" indent="0">
              <a:buNone/>
              <a:defRPr/>
            </a:lvl5pPr>
          </a:lstStyle>
          <a:p>
            <a:pPr lvl="0"/>
            <a:r>
              <a:rPr lang="zh-CN" altLang="en-US" noProof="1"/>
              <a:t>单击此处编辑母版文本样式</a:t>
            </a:r>
            <a:endParaRPr lang="zh-CN" altLang="en-US" noProof="1"/>
          </a:p>
        </p:txBody>
      </p:sp>
      <p:sp>
        <p:nvSpPr>
          <p:cNvPr id="6" name="Text Placeholder 5"/>
          <p:cNvSpPr>
            <a:spLocks noGrp="1"/>
          </p:cNvSpPr>
          <p:nvPr>
            <p:ph type="body" sz="quarter" idx="18"/>
          </p:nvPr>
        </p:nvSpPr>
        <p:spPr>
          <a:xfrm>
            <a:off x="492758" y="6058087"/>
            <a:ext cx="11261093" cy="215444"/>
          </a:xfrm>
        </p:spPr>
        <p:txBody>
          <a:bodyPr anchor="b">
            <a:spAutoFit/>
          </a:bodyPr>
          <a:lstStyle>
            <a:lvl1pPr marL="0" indent="0">
              <a:buNone/>
              <a:defRPr sz="800" baseline="0">
                <a:latin typeface="Arial" panose="020B0604020202020204" pitchFamily="34" charset="0"/>
                <a:ea typeface="微软雅黑" panose="020B0503020204020204" charset="-122"/>
              </a:defRPr>
            </a:lvl1pPr>
            <a:lvl2pPr marL="267970" indent="0">
              <a:buNone/>
              <a:defRPr sz="800"/>
            </a:lvl2pPr>
            <a:lvl3pPr marL="539750" indent="0">
              <a:buNone/>
              <a:defRPr sz="800"/>
            </a:lvl3pPr>
            <a:lvl4pPr marL="810895" indent="0">
              <a:buNone/>
              <a:defRPr sz="800"/>
            </a:lvl4pPr>
            <a:lvl5pPr marL="1080135" indent="0">
              <a:buNone/>
              <a:defRPr sz="800"/>
            </a:lvl5pPr>
          </a:lstStyle>
          <a:p>
            <a:pPr lvl="0"/>
            <a:r>
              <a:rPr lang="zh-CN" altLang="en-US" noProof="1"/>
              <a:t>单击此处编辑母版文本样式</a:t>
            </a:r>
            <a:endParaRPr lang="zh-CN" altLang="en-US" noProof="1"/>
          </a:p>
        </p:txBody>
      </p:sp>
      <p:sp>
        <p:nvSpPr>
          <p:cNvPr id="7" name="Date Placeholder 1"/>
          <p:cNvSpPr>
            <a:spLocks noGrp="1"/>
          </p:cNvSpPr>
          <p:nvPr>
            <p:ph type="dt" sz="half" idx="19"/>
          </p:nvPr>
        </p:nvSpPr>
        <p:spPr/>
        <p:txBody>
          <a:bodyPr/>
          <a:lstStyle>
            <a:lvl1pPr algn="ctr">
              <a:defRPr baseline="0">
                <a:solidFill>
                  <a:srgbClr val="9A8B7D"/>
                </a:solidFill>
                <a:latin typeface="Arial" panose="020B0604020202020204" pitchFamily="34" charset="0"/>
                <a:ea typeface="微软雅黑" panose="020B0503020204020204" charset="-122"/>
              </a:defRPr>
            </a:lvl1pPr>
          </a:lstStyle>
          <a:p>
            <a:fld id="{9C8CC653-EFC1-4CCC-9EAE-3A7A866ABCEC}" type="datetimeFigureOut">
              <a:rPr lang="zh-CN" altLang="en-US" smtClean="0"/>
            </a:fld>
            <a:endParaRPr lang="zh-CN" altLang="en-US"/>
          </a:p>
        </p:txBody>
      </p:sp>
      <p:sp>
        <p:nvSpPr>
          <p:cNvPr id="9" name="Footer Placeholder 2"/>
          <p:cNvSpPr>
            <a:spLocks noGrp="1"/>
          </p:cNvSpPr>
          <p:nvPr>
            <p:ph type="ftr" sz="quarter" idx="20"/>
          </p:nvPr>
        </p:nvSpPr>
        <p:spPr>
          <a:xfrm>
            <a:off x="383118" y="6437314"/>
            <a:ext cx="10206567" cy="365125"/>
          </a:xfrm>
        </p:spPr>
        <p:txBody>
          <a:bodyPr/>
          <a:lstStyle>
            <a:lvl1pPr>
              <a:defRPr baseline="0">
                <a:solidFill>
                  <a:srgbClr val="9A8B7D"/>
                </a:solidFill>
                <a:latin typeface="Arial" panose="020B0604020202020204" pitchFamily="34" charset="0"/>
                <a:ea typeface="微软雅黑" panose="020B0503020204020204" charset="-122"/>
              </a:defRPr>
            </a:lvl1pPr>
          </a:lstStyle>
          <a:p>
            <a:pPr>
              <a:defRPr/>
            </a:pPr>
            <a:r>
              <a:rPr lang="en-US"/>
              <a:t>Bochenek T,The treatment of venous thromboembolism with low-molecular-weight heparins. A meta-analysis.Thromb Haemost. 2012 Apr;107(4):699-716</a:t>
            </a:r>
            <a:endParaRPr lang="en-GB" dirty="0"/>
          </a:p>
        </p:txBody>
      </p:sp>
      <p:sp>
        <p:nvSpPr>
          <p:cNvPr id="10" name="Slide Number Placeholder 8"/>
          <p:cNvSpPr>
            <a:spLocks noGrp="1"/>
          </p:cNvSpPr>
          <p:nvPr>
            <p:ph type="sldNum" sz="quarter" idx="21"/>
          </p:nvPr>
        </p:nvSpPr>
        <p:spPr/>
        <p:txBody>
          <a:bodyPr/>
          <a:lstStyle>
            <a:lvl1pPr>
              <a:defRPr>
                <a:solidFill>
                  <a:srgbClr val="9A8B7D"/>
                </a:solidFill>
                <a:latin typeface="Arial" panose="020B0604020202020204" pitchFamily="34" charset="0"/>
                <a:ea typeface="微软雅黑" panose="020B0503020204020204" charset="-122"/>
              </a:defRPr>
            </a:lvl1pPr>
          </a:lstStyle>
          <a:p>
            <a:fld id="{9821390D-C681-4C84-8067-48A0CF0288DE}" type="slidenum">
              <a:rPr lang="zh-CN" altLang="en-US" smtClean="0"/>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7" name="标题 1"/>
          <p:cNvSpPr>
            <a:spLocks noGrp="1"/>
          </p:cNvSpPr>
          <p:nvPr>
            <p:ph type="title"/>
          </p:nvPr>
        </p:nvSpPr>
        <p:spPr>
          <a:xfrm>
            <a:off x="600651" y="216776"/>
            <a:ext cx="10972800" cy="710952"/>
          </a:xfrm>
          <a:prstGeom prst="rect">
            <a:avLst/>
          </a:prstGeom>
        </p:spPr>
        <p:txBody>
          <a:bodyPr lIns="91389" tIns="45694" rIns="91389" bIns="45694">
            <a:normAutofit/>
          </a:bodyPr>
          <a:lstStyle>
            <a:lvl1pPr>
              <a:defRPr sz="2955">
                <a:solidFill>
                  <a:srgbClr val="002060"/>
                </a:solidFill>
              </a:defRPr>
            </a:lvl1pPr>
          </a:lstStyle>
          <a:p>
            <a:r>
              <a:rPr lang="zh-CN" altLang="en-US"/>
              <a:t>单击此处编辑母版标题样式</a:t>
            </a:r>
            <a:endParaRPr lang="zh-CN" altLang="en-US" dirty="0"/>
          </a:p>
        </p:txBody>
      </p:sp>
      <p:sp>
        <p:nvSpPr>
          <p:cNvPr id="8" name="内容占位符 2"/>
          <p:cNvSpPr>
            <a:spLocks noGrp="1"/>
          </p:cNvSpPr>
          <p:nvPr>
            <p:ph idx="1"/>
          </p:nvPr>
        </p:nvSpPr>
        <p:spPr>
          <a:xfrm>
            <a:off x="609600" y="1412776"/>
            <a:ext cx="10972800" cy="4176464"/>
          </a:xfrm>
          <a:prstGeom prst="rect">
            <a:avLst/>
          </a:prstGeom>
        </p:spPr>
        <p:txBody>
          <a:bodyPr lIns="91389" tIns="45694" rIns="91389" bIns="45694">
            <a:normAutofit/>
          </a:bodyPr>
          <a:lstStyle>
            <a:lvl1pPr>
              <a:defRPr sz="1845">
                <a:solidFill>
                  <a:srgbClr val="002060"/>
                </a:solidFill>
              </a:defRPr>
            </a:lvl1pPr>
            <a:lvl2pPr>
              <a:defRPr sz="1845">
                <a:solidFill>
                  <a:srgbClr val="002060"/>
                </a:solidFill>
              </a:defRPr>
            </a:lvl2pPr>
            <a:lvl3pPr>
              <a:defRPr sz="1845">
                <a:solidFill>
                  <a:srgbClr val="002060"/>
                </a:solidFill>
              </a:defRPr>
            </a:lvl3pPr>
            <a:lvl4pPr>
              <a:defRPr sz="1845">
                <a:solidFill>
                  <a:srgbClr val="002060"/>
                </a:solidFill>
              </a:defRPr>
            </a:lvl4pPr>
            <a:lvl5pPr>
              <a:defRPr sz="1845">
                <a:solidFill>
                  <a:srgbClr val="002060"/>
                </a:solidFill>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9" name="内容占位符 2"/>
          <p:cNvSpPr>
            <a:spLocks noGrp="1"/>
          </p:cNvSpPr>
          <p:nvPr>
            <p:ph idx="10"/>
          </p:nvPr>
        </p:nvSpPr>
        <p:spPr>
          <a:xfrm>
            <a:off x="-7955" y="6461720"/>
            <a:ext cx="10084593" cy="279648"/>
          </a:xfrm>
          <a:prstGeom prst="rect">
            <a:avLst/>
          </a:prstGeom>
        </p:spPr>
        <p:txBody>
          <a:bodyPr lIns="91389" tIns="45694" rIns="91389" bIns="45694">
            <a:noAutofit/>
          </a:bodyPr>
          <a:lstStyle>
            <a:lvl1pPr marL="0" indent="0">
              <a:buNone/>
              <a:defRPr sz="1110" b="0">
                <a:solidFill>
                  <a:srgbClr val="002060"/>
                </a:solidFill>
              </a:defRPr>
            </a:lvl1pPr>
            <a:lvl2pPr>
              <a:defRPr sz="1845"/>
            </a:lvl2pPr>
            <a:lvl3pPr>
              <a:defRPr sz="1845"/>
            </a:lvl3pPr>
            <a:lvl4pPr>
              <a:defRPr sz="1845"/>
            </a:lvl4pPr>
            <a:lvl5pPr>
              <a:defRPr sz="1845"/>
            </a:lvl5pPr>
          </a:lstStyle>
          <a:p>
            <a:pPr lvl="0"/>
            <a:r>
              <a:rPr lang="zh-CN" altLang="en-US"/>
              <a:t>单击此处编辑母版文本样式</a:t>
            </a:r>
            <a:endParaRPr lang="zh-CN" altLang="en-US"/>
          </a:p>
        </p:txBody>
      </p:sp>
      <p:sp>
        <p:nvSpPr>
          <p:cNvPr id="10" name="内容占位符 2"/>
          <p:cNvSpPr>
            <a:spLocks noGrp="1"/>
          </p:cNvSpPr>
          <p:nvPr>
            <p:ph idx="11"/>
          </p:nvPr>
        </p:nvSpPr>
        <p:spPr>
          <a:xfrm>
            <a:off x="601236" y="5877272"/>
            <a:ext cx="10989528" cy="504056"/>
          </a:xfrm>
          <a:prstGeom prst="rect">
            <a:avLst/>
          </a:prstGeom>
        </p:spPr>
        <p:txBody>
          <a:bodyPr lIns="91389" tIns="45694" rIns="91389" bIns="45694">
            <a:noAutofit/>
          </a:bodyPr>
          <a:lstStyle>
            <a:lvl1pPr marL="0" indent="0">
              <a:buNone/>
              <a:defRPr sz="1110" b="0">
                <a:solidFill>
                  <a:srgbClr val="002060"/>
                </a:solidFill>
              </a:defRPr>
            </a:lvl1pPr>
            <a:lvl2pPr>
              <a:defRPr sz="1845"/>
            </a:lvl2pPr>
            <a:lvl3pPr>
              <a:defRPr sz="1845"/>
            </a:lvl3pPr>
            <a:lvl4pPr>
              <a:defRPr sz="1845"/>
            </a:lvl4pPr>
            <a:lvl5pPr>
              <a:defRPr sz="1845"/>
            </a:lvl5pPr>
          </a:lstStyle>
          <a:p>
            <a:pPr lvl="0"/>
            <a:r>
              <a:rPr lang="zh-CN" altLang="en-US"/>
              <a:t>单击此处编辑母版文本样式</a:t>
            </a:r>
            <a:endParaRPr lang="zh-CN" altLang="en-US"/>
          </a:p>
        </p:txBody>
      </p:sp>
      <p:sp>
        <p:nvSpPr>
          <p:cNvPr id="6" name="矩形 5"/>
          <p:cNvSpPr/>
          <p:nvPr/>
        </p:nvSpPr>
        <p:spPr>
          <a:xfrm>
            <a:off x="0" y="6748860"/>
            <a:ext cx="12192000" cy="109140"/>
          </a:xfrm>
          <a:prstGeom prst="rect">
            <a:avLst/>
          </a:prstGeom>
          <a:solidFill>
            <a:srgbClr val="A50021">
              <a:alpha val="89804"/>
            </a:srgb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sz="1660" baseline="0">
              <a:latin typeface="Arial" panose="020B0604020202020204" pitchFamily="34" charset="0"/>
              <a:ea typeface="微软雅黑" panose="020B0503020204020204" charset="-122"/>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4" name="Footer Placeholder 3"/>
          <p:cNvSpPr>
            <a:spLocks noGrp="1"/>
          </p:cNvSpPr>
          <p:nvPr>
            <p:ph type="ftr" sz="quarter" idx="11"/>
          </p:nvPr>
        </p:nvSpPr>
        <p:spPr>
          <a:xfrm>
            <a:off x="609600" y="6375401"/>
            <a:ext cx="8839200" cy="390525"/>
          </a:xfrm>
          <a:prstGeom prst="rect">
            <a:avLst/>
          </a:prstGeom>
        </p:spPr>
        <p:txBody>
          <a:bodyPr/>
          <a:lstStyle/>
          <a:p>
            <a:r>
              <a:rPr lang="en-US" dirty="0"/>
              <a:t> </a:t>
            </a:r>
            <a:endParaRPr lang="en-US" dirty="0"/>
          </a:p>
        </p:txBody>
      </p:sp>
      <p:sp>
        <p:nvSpPr>
          <p:cNvPr id="5" name="Slide Number Placeholder 4"/>
          <p:cNvSpPr>
            <a:spLocks noGrp="1"/>
          </p:cNvSpPr>
          <p:nvPr>
            <p:ph type="sldNum" sz="quarter" idx="12"/>
          </p:nvPr>
        </p:nvSpPr>
        <p:spPr/>
        <p:txBody>
          <a:bodyPr/>
          <a:lstStyle/>
          <a:p>
            <a:fld id="{9821390D-C681-4C84-8067-48A0CF0288DE}" type="slidenum">
              <a:rPr lang="zh-CN" altLang="en-US" smtClean="0"/>
            </a:fld>
            <a:endParaRPr lang="zh-CN" altLang="en-US"/>
          </a:p>
        </p:txBody>
      </p:sp>
      <p:sp>
        <p:nvSpPr>
          <p:cNvPr id="12" name="Text Placeholder 18"/>
          <p:cNvSpPr>
            <a:spLocks noGrp="1"/>
          </p:cNvSpPr>
          <p:nvPr>
            <p:ph type="body" sz="quarter" idx="15"/>
          </p:nvPr>
        </p:nvSpPr>
        <p:spPr>
          <a:xfrm>
            <a:off x="711200" y="1803401"/>
            <a:ext cx="2957208" cy="378884"/>
          </a:xfrm>
          <a:prstGeom prst="rect">
            <a:avLst/>
          </a:prstGeom>
        </p:spPr>
        <p:txBody>
          <a:bodyPr>
            <a:noAutofit/>
          </a:bodyPr>
          <a:lstStyle>
            <a:lvl1pPr marL="0" indent="0">
              <a:buFontTx/>
              <a:buNone/>
              <a:defRPr sz="1600" b="0">
                <a:solidFill>
                  <a:srgbClr val="0070C0"/>
                </a:solidFill>
                <a:latin typeface="Bebas Neue" pitchFamily="34" charset="0"/>
              </a:defRPr>
            </a:lvl1pPr>
            <a:lvl2pPr marL="457200" indent="0">
              <a:buFontTx/>
              <a:buNone/>
              <a:defRPr sz="1600">
                <a:latin typeface="Bebas Neue" pitchFamily="34" charset="0"/>
              </a:defRPr>
            </a:lvl2pPr>
            <a:lvl3pPr marL="914400" indent="0">
              <a:buFontTx/>
              <a:buNone/>
              <a:defRPr sz="1600">
                <a:latin typeface="Bebas Neue" pitchFamily="34" charset="0"/>
              </a:defRPr>
            </a:lvl3pPr>
            <a:lvl4pPr marL="1371600" indent="0">
              <a:buFontTx/>
              <a:buNone/>
              <a:defRPr sz="1600">
                <a:latin typeface="Bebas Neue" pitchFamily="34" charset="0"/>
              </a:defRPr>
            </a:lvl4pPr>
            <a:lvl5pPr marL="1828800" indent="0">
              <a:buFontTx/>
              <a:buNone/>
              <a:defRPr sz="1600">
                <a:latin typeface="Bebas Neue" pitchFamily="34" charset="0"/>
              </a:defRPr>
            </a:lvl5pPr>
          </a:lstStyle>
          <a:p>
            <a:pPr lvl="0"/>
            <a:r>
              <a:rPr lang="zh-CN" altLang="en-US"/>
              <a:t>单击此处编辑母版文本样式</a:t>
            </a:r>
            <a:endParaRPr lang="zh-CN" altLang="en-US"/>
          </a:p>
        </p:txBody>
      </p:sp>
      <p:sp>
        <p:nvSpPr>
          <p:cNvPr id="13" name="Text Placeholder 20"/>
          <p:cNvSpPr>
            <a:spLocks noGrp="1"/>
          </p:cNvSpPr>
          <p:nvPr>
            <p:ph type="body" sz="quarter" idx="16"/>
          </p:nvPr>
        </p:nvSpPr>
        <p:spPr>
          <a:xfrm>
            <a:off x="711200" y="2108200"/>
            <a:ext cx="3657600" cy="812800"/>
          </a:xfrm>
          <a:prstGeom prst="rect">
            <a:avLst/>
          </a:prstGeom>
        </p:spPr>
        <p:txBody>
          <a:bodyPr>
            <a:normAutofit/>
          </a:bodyPr>
          <a:lstStyle>
            <a:lvl1pPr marL="0" indent="0">
              <a:spcBef>
                <a:spcPts val="0"/>
              </a:spcBef>
              <a:buFontTx/>
              <a:buNone/>
              <a:defRPr sz="1100">
                <a:solidFill>
                  <a:schemeClr val="tx1">
                    <a:lumMod val="85000"/>
                    <a:lumOff val="15000"/>
                  </a:schemeClr>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zh-CN" altLang="en-US"/>
              <a:t>单击此处编辑母版文本样式</a:t>
            </a:r>
            <a:endParaRPr lang="zh-CN" altLang="en-US"/>
          </a:p>
        </p:txBody>
      </p:sp>
      <p:sp>
        <p:nvSpPr>
          <p:cNvPr id="14" name="Text Placeholder 18"/>
          <p:cNvSpPr>
            <a:spLocks noGrp="1"/>
          </p:cNvSpPr>
          <p:nvPr>
            <p:ph type="body" sz="quarter" idx="17"/>
          </p:nvPr>
        </p:nvSpPr>
        <p:spPr>
          <a:xfrm>
            <a:off x="711200" y="3225801"/>
            <a:ext cx="2957208" cy="378884"/>
          </a:xfrm>
          <a:prstGeom prst="rect">
            <a:avLst/>
          </a:prstGeom>
        </p:spPr>
        <p:txBody>
          <a:bodyPr>
            <a:noAutofit/>
          </a:bodyPr>
          <a:lstStyle>
            <a:lvl1pPr marL="0" indent="0">
              <a:buFontTx/>
              <a:buNone/>
              <a:defRPr sz="1600" b="0">
                <a:solidFill>
                  <a:srgbClr val="0070C0"/>
                </a:solidFill>
                <a:latin typeface="Bebas Neue" pitchFamily="34" charset="0"/>
              </a:defRPr>
            </a:lvl1pPr>
            <a:lvl2pPr marL="457200" indent="0">
              <a:buFontTx/>
              <a:buNone/>
              <a:defRPr sz="1600">
                <a:latin typeface="Bebas Neue" pitchFamily="34" charset="0"/>
              </a:defRPr>
            </a:lvl2pPr>
            <a:lvl3pPr marL="914400" indent="0">
              <a:buFontTx/>
              <a:buNone/>
              <a:defRPr sz="1600">
                <a:latin typeface="Bebas Neue" pitchFamily="34" charset="0"/>
              </a:defRPr>
            </a:lvl3pPr>
            <a:lvl4pPr marL="1371600" indent="0">
              <a:buFontTx/>
              <a:buNone/>
              <a:defRPr sz="1600">
                <a:latin typeface="Bebas Neue" pitchFamily="34" charset="0"/>
              </a:defRPr>
            </a:lvl4pPr>
            <a:lvl5pPr marL="1828800" indent="0">
              <a:buFontTx/>
              <a:buNone/>
              <a:defRPr sz="1600">
                <a:latin typeface="Bebas Neue" pitchFamily="34" charset="0"/>
              </a:defRPr>
            </a:lvl5pPr>
          </a:lstStyle>
          <a:p>
            <a:pPr lvl="0"/>
            <a:r>
              <a:rPr lang="zh-CN" altLang="en-US"/>
              <a:t>单击此处编辑母版文本样式</a:t>
            </a:r>
            <a:endParaRPr lang="zh-CN" altLang="en-US"/>
          </a:p>
        </p:txBody>
      </p:sp>
      <p:sp>
        <p:nvSpPr>
          <p:cNvPr id="15" name="Text Placeholder 20"/>
          <p:cNvSpPr>
            <a:spLocks noGrp="1"/>
          </p:cNvSpPr>
          <p:nvPr>
            <p:ph type="body" sz="quarter" idx="18"/>
          </p:nvPr>
        </p:nvSpPr>
        <p:spPr>
          <a:xfrm>
            <a:off x="711200" y="3530600"/>
            <a:ext cx="3657600" cy="812800"/>
          </a:xfrm>
          <a:prstGeom prst="rect">
            <a:avLst/>
          </a:prstGeom>
        </p:spPr>
        <p:txBody>
          <a:bodyPr>
            <a:normAutofit/>
          </a:bodyPr>
          <a:lstStyle>
            <a:lvl1pPr marL="0" indent="0">
              <a:spcBef>
                <a:spcPts val="0"/>
              </a:spcBef>
              <a:buFontTx/>
              <a:buNone/>
              <a:defRPr sz="1100">
                <a:solidFill>
                  <a:schemeClr val="tx1">
                    <a:lumMod val="85000"/>
                    <a:lumOff val="15000"/>
                  </a:schemeClr>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zh-CN" altLang="en-US"/>
              <a:t>单击此处编辑母版文本样式</a:t>
            </a:r>
            <a:endParaRPr lang="zh-CN" altLang="en-US"/>
          </a:p>
        </p:txBody>
      </p:sp>
      <p:sp>
        <p:nvSpPr>
          <p:cNvPr id="16" name="Text Placeholder 18"/>
          <p:cNvSpPr>
            <a:spLocks noGrp="1"/>
          </p:cNvSpPr>
          <p:nvPr>
            <p:ph type="body" sz="quarter" idx="19"/>
          </p:nvPr>
        </p:nvSpPr>
        <p:spPr>
          <a:xfrm>
            <a:off x="711200" y="4648201"/>
            <a:ext cx="2957208" cy="378884"/>
          </a:xfrm>
          <a:prstGeom prst="rect">
            <a:avLst/>
          </a:prstGeom>
        </p:spPr>
        <p:txBody>
          <a:bodyPr>
            <a:noAutofit/>
          </a:bodyPr>
          <a:lstStyle>
            <a:lvl1pPr marL="0" indent="0">
              <a:buFontTx/>
              <a:buNone/>
              <a:defRPr sz="1600" b="0">
                <a:solidFill>
                  <a:srgbClr val="0070C0"/>
                </a:solidFill>
                <a:latin typeface="Bebas Neue" pitchFamily="34" charset="0"/>
              </a:defRPr>
            </a:lvl1pPr>
            <a:lvl2pPr marL="457200" indent="0">
              <a:buFontTx/>
              <a:buNone/>
              <a:defRPr sz="1600">
                <a:latin typeface="Bebas Neue" pitchFamily="34" charset="0"/>
              </a:defRPr>
            </a:lvl2pPr>
            <a:lvl3pPr marL="914400" indent="0">
              <a:buFontTx/>
              <a:buNone/>
              <a:defRPr sz="1600">
                <a:latin typeface="Bebas Neue" pitchFamily="34" charset="0"/>
              </a:defRPr>
            </a:lvl3pPr>
            <a:lvl4pPr marL="1371600" indent="0">
              <a:buFontTx/>
              <a:buNone/>
              <a:defRPr sz="1600">
                <a:latin typeface="Bebas Neue" pitchFamily="34" charset="0"/>
              </a:defRPr>
            </a:lvl4pPr>
            <a:lvl5pPr marL="1828800" indent="0">
              <a:buFontTx/>
              <a:buNone/>
              <a:defRPr sz="1600">
                <a:latin typeface="Bebas Neue" pitchFamily="34" charset="0"/>
              </a:defRPr>
            </a:lvl5pPr>
          </a:lstStyle>
          <a:p>
            <a:pPr lvl="0"/>
            <a:r>
              <a:rPr lang="zh-CN" altLang="en-US"/>
              <a:t>单击此处编辑母版文本样式</a:t>
            </a:r>
            <a:endParaRPr lang="zh-CN" altLang="en-US"/>
          </a:p>
        </p:txBody>
      </p:sp>
      <p:sp>
        <p:nvSpPr>
          <p:cNvPr id="17" name="Text Placeholder 20"/>
          <p:cNvSpPr>
            <a:spLocks noGrp="1"/>
          </p:cNvSpPr>
          <p:nvPr>
            <p:ph type="body" sz="quarter" idx="20"/>
          </p:nvPr>
        </p:nvSpPr>
        <p:spPr>
          <a:xfrm>
            <a:off x="711200" y="4953000"/>
            <a:ext cx="3657600" cy="812800"/>
          </a:xfrm>
          <a:prstGeom prst="rect">
            <a:avLst/>
          </a:prstGeom>
        </p:spPr>
        <p:txBody>
          <a:bodyPr>
            <a:normAutofit/>
          </a:bodyPr>
          <a:lstStyle>
            <a:lvl1pPr marL="0" indent="0">
              <a:spcBef>
                <a:spcPts val="0"/>
              </a:spcBef>
              <a:buFontTx/>
              <a:buNone/>
              <a:defRPr sz="1100">
                <a:solidFill>
                  <a:schemeClr val="tx1">
                    <a:lumMod val="85000"/>
                    <a:lumOff val="15000"/>
                  </a:schemeClr>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zh-CN" altLang="en-US"/>
              <a:t>单击此处编辑母版文本样式</a:t>
            </a:r>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3_标题和内容">
    <p:spTree>
      <p:nvGrpSpPr>
        <p:cNvPr id="1" name=""/>
        <p:cNvGrpSpPr/>
        <p:nvPr/>
      </p:nvGrpSpPr>
      <p:grpSpPr>
        <a:xfrm>
          <a:off x="0" y="0"/>
          <a:ext cx="0" cy="0"/>
          <a:chOff x="0" y="0"/>
          <a:chExt cx="0" cy="0"/>
        </a:xfrm>
      </p:grpSpPr>
      <p:pic>
        <p:nvPicPr>
          <p:cNvPr id="4" name="图片 6"/>
          <p:cNvPicPr>
            <a:picLocks noChangeAspect="1"/>
          </p:cNvPicPr>
          <p:nvPr/>
        </p:nvPicPr>
        <p:blipFill>
          <a:blip r:embed="rId2">
            <a:extLst>
              <a:ext uri="{28A0092B-C50C-407E-A947-70E740481C1C}">
                <a14:useLocalDpi xmlns:a14="http://schemas.microsoft.com/office/drawing/2010/main" val="0"/>
              </a:ext>
            </a:extLst>
          </a:blip>
          <a:srcRect r="81535"/>
          <a:stretch>
            <a:fillRect/>
          </a:stretch>
        </p:blipFill>
        <p:spPr bwMode="auto">
          <a:xfrm>
            <a:off x="46037" y="98425"/>
            <a:ext cx="741363"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 4" descr="W020100702368830643812.jpg"/>
          <p:cNvPicPr>
            <a:picLocks noChangeAspect="1"/>
          </p:cNvPicPr>
          <p:nvPr/>
        </p:nvPicPr>
        <p:blipFill>
          <a:blip r:embed="rId3" cstate="print">
            <a:duotone>
              <a:schemeClr val="bg2">
                <a:shade val="45000"/>
                <a:satMod val="135000"/>
              </a:schemeClr>
              <a:prstClr val="white"/>
            </a:duotone>
            <a:lum bright="13000"/>
          </a:blip>
          <a:srcRect r="8043" b="14467"/>
          <a:stretch>
            <a:fillRect/>
          </a:stretch>
        </p:blipFill>
        <p:spPr>
          <a:xfrm>
            <a:off x="9270718" y="5362042"/>
            <a:ext cx="2919209" cy="1494404"/>
          </a:xfrm>
          <a:prstGeom prst="rect">
            <a:avLst/>
          </a:prstGeom>
          <a:ln>
            <a:noFill/>
          </a:ln>
          <a:effectLst>
            <a:softEdge rad="112500"/>
          </a:effectLst>
        </p:spPr>
      </p:pic>
      <p:cxnSp>
        <p:nvCxnSpPr>
          <p:cNvPr id="6" name="直接连接符 5"/>
          <p:cNvCxnSpPr>
            <a:cxnSpLocks noChangeShapeType="1"/>
          </p:cNvCxnSpPr>
          <p:nvPr/>
        </p:nvCxnSpPr>
        <p:spPr bwMode="auto">
          <a:xfrm rot="16200000" flipH="1">
            <a:off x="6490495" y="-4937919"/>
            <a:ext cx="0" cy="11406188"/>
          </a:xfrm>
          <a:prstGeom prst="line">
            <a:avLst/>
          </a:prstGeom>
          <a:noFill/>
          <a:ln w="38100">
            <a:solidFill>
              <a:srgbClr val="0070C0"/>
            </a:solidFill>
            <a:round/>
          </a:ln>
          <a:effectLst>
            <a:outerShdw blurRad="50800" dist="38100" dir="5400000" rotWithShape="0">
              <a:srgbClr val="808080">
                <a:alpha val="43137"/>
              </a:srgbClr>
            </a:outerShdw>
          </a:effectLst>
        </p:spPr>
      </p:cxnSp>
      <p:sp>
        <p:nvSpPr>
          <p:cNvPr id="3" name="内容占位符 2"/>
          <p:cNvSpPr>
            <a:spLocks noGrp="1"/>
          </p:cNvSpPr>
          <p:nvPr>
            <p:ph idx="1"/>
          </p:nvPr>
        </p:nvSpPr>
        <p:spPr>
          <a:xfrm>
            <a:off x="666712" y="1571612"/>
            <a:ext cx="10972800" cy="4525963"/>
          </a:xfrm>
        </p:spPr>
        <p:txBody>
          <a:bodyPr/>
          <a:lstStyle>
            <a:lvl1pPr>
              <a:defRPr>
                <a:solidFill>
                  <a:schemeClr val="tx1">
                    <a:lumMod val="95000"/>
                    <a:lumOff val="5000"/>
                  </a:schemeClr>
                </a:solidFill>
                <a:latin typeface="+mn-ea"/>
                <a:ea typeface="+mn-ea"/>
              </a:defRPr>
            </a:lvl1pPr>
            <a:lvl2pPr>
              <a:defRPr b="1">
                <a:solidFill>
                  <a:srgbClr val="19434F"/>
                </a:solidFill>
                <a:latin typeface="+mn-ea"/>
                <a:ea typeface="+mn-ea"/>
              </a:defRPr>
            </a:lvl2pPr>
            <a:lvl3pPr>
              <a:defRPr b="1">
                <a:latin typeface="+mn-ea"/>
                <a:ea typeface="+mn-ea"/>
              </a:defRPr>
            </a:lvl3pPr>
            <a:lvl4pPr>
              <a:defRPr>
                <a:latin typeface="+mn-ea"/>
                <a:ea typeface="+mn-ea"/>
              </a:defRPr>
            </a:lvl4pPr>
            <a:lvl5pPr>
              <a:defRPr>
                <a:latin typeface="+mn-ea"/>
                <a:ea typeface="+mn-ea"/>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10" name="标题占位符 1"/>
          <p:cNvSpPr>
            <a:spLocks noGrp="1"/>
          </p:cNvSpPr>
          <p:nvPr>
            <p:ph type="title"/>
          </p:nvPr>
        </p:nvSpPr>
        <p:spPr>
          <a:xfrm>
            <a:off x="787401" y="-27384"/>
            <a:ext cx="10900539" cy="830315"/>
          </a:xfrm>
          <a:prstGeom prst="rect">
            <a:avLst/>
          </a:prstGeom>
          <a:solidFill>
            <a:schemeClr val="accent1">
              <a:lumMod val="75000"/>
            </a:schemeClr>
          </a:solidFill>
          <a:ln>
            <a:noFill/>
          </a:ln>
        </p:spPr>
        <p:txBody>
          <a:bodyPr>
            <a:normAutofit/>
            <a:sp3d contourW="25400" prstMaterial="matte">
              <a:contourClr>
                <a:schemeClr val="accent2">
                  <a:tint val="20000"/>
                </a:schemeClr>
              </a:contourClr>
            </a:sp3d>
          </a:bodyPr>
          <a:lstStyle>
            <a:lvl1pPr>
              <a:defRPr sz="2400" b="1" i="0" cap="none" spc="0" baseline="0">
                <a:ln w="0"/>
                <a:solidFill>
                  <a:schemeClr val="bg1"/>
                </a:solidFill>
                <a:effectLst>
                  <a:outerShdw blurRad="38100" dist="19050" dir="2700000" algn="tl" rotWithShape="0">
                    <a:schemeClr val="dk1">
                      <a:alpha val="40000"/>
                    </a:schemeClr>
                  </a:outerShdw>
                </a:effectLst>
                <a:latin typeface="Arial" panose="020B0604020202020204" pitchFamily="34" charset="0"/>
                <a:ea typeface="黑体" panose="02010609060101010101" pitchFamily="49" charset="-122"/>
                <a:cs typeface="Arial" panose="020B0604020202020204" pitchFamily="34" charset="0"/>
              </a:defRPr>
            </a:lvl1pPr>
          </a:lstStyle>
          <a:p>
            <a:r>
              <a:rPr lang="zh-CN" altLang="en-US"/>
              <a:t>单击此处编辑母版标题样式</a:t>
            </a:r>
            <a:endParaRPr lang="zh-CN" altLang="en-US" dirty="0"/>
          </a:p>
        </p:txBody>
      </p:sp>
      <p:sp>
        <p:nvSpPr>
          <p:cNvPr id="7" name="日期占位符 3"/>
          <p:cNvSpPr>
            <a:spLocks noGrp="1"/>
          </p:cNvSpPr>
          <p:nvPr>
            <p:ph type="dt" sz="half" idx="10"/>
          </p:nvPr>
        </p:nvSpPr>
        <p:spPr/>
        <p:txBody>
          <a:bodyPr/>
          <a:lstStyle>
            <a:lvl1pPr>
              <a:defRPr/>
            </a:lvl1pPr>
          </a:lstStyle>
          <a:p>
            <a:fld id="{9C8CC653-EFC1-4CCC-9EAE-3A7A866ABCEC}" type="datetimeFigureOut">
              <a:rPr lang="zh-CN" altLang="en-US" smtClean="0"/>
            </a:fld>
            <a:endParaRPr lang="zh-CN" altLang="en-US"/>
          </a:p>
        </p:txBody>
      </p:sp>
      <p:sp>
        <p:nvSpPr>
          <p:cNvPr id="8" name="页脚占位符 4"/>
          <p:cNvSpPr>
            <a:spLocks noGrp="1"/>
          </p:cNvSpPr>
          <p:nvPr>
            <p:ph type="ftr" sz="quarter" idx="11"/>
          </p:nvPr>
        </p:nvSpPr>
        <p:spPr>
          <a:xfrm>
            <a:off x="0" y="6491290"/>
            <a:ext cx="3860800" cy="365125"/>
          </a:xfrm>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a:xfrm>
            <a:off x="26988" y="6492877"/>
            <a:ext cx="2844800" cy="365125"/>
          </a:xfrm>
        </p:spPr>
        <p:txBody>
          <a:bodyPr/>
          <a:lstStyle>
            <a:lvl1pPr>
              <a:defRPr smtClean="0"/>
            </a:lvl1pPr>
          </a:lstStyle>
          <a:p>
            <a:fld id="{9821390D-C681-4C84-8067-48A0CF0288DE}" type="slidenum">
              <a:rPr lang="zh-CN" altLang="en-US" smtClean="0"/>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9_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268762"/>
            <a:ext cx="10515600" cy="4908203"/>
          </a:xfrm>
        </p:spPr>
        <p:txBody>
          <a:bodyPr vert="horz" lIns="91440" tIns="45720" rIns="91440" bIns="45720" rtlCol="0">
            <a:normAutofit/>
          </a:bodyPr>
          <a:lstStyle>
            <a:lvl1pPr>
              <a:defRPr lang="zh-CN" altLang="en-US" sz="1800" dirty="0" smtClean="0"/>
            </a:lvl1pPr>
            <a:lvl2pPr>
              <a:defRPr lang="zh-CN" altLang="en-US" sz="1600" dirty="0" smtClean="0"/>
            </a:lvl2pPr>
            <a:lvl3pPr>
              <a:defRPr lang="zh-CN" altLang="en-US" sz="1400" dirty="0" smtClean="0"/>
            </a:lvl3pPr>
            <a:lvl4pPr>
              <a:defRPr lang="zh-CN" altLang="en-US" sz="1200" dirty="0" smtClean="0"/>
            </a:lvl4pPr>
            <a:lvl5pPr>
              <a:defRPr lang="en-US" sz="1200" dirty="0"/>
            </a:lvl5pPr>
          </a:lstStyle>
          <a:p>
            <a:pPr lvl="0">
              <a:lnSpc>
                <a:spcPct val="120000"/>
              </a:lnSpc>
              <a:spcBef>
                <a:spcPts val="600"/>
              </a:spcBef>
            </a:pPr>
            <a:r>
              <a:rPr lang="zh-CN" altLang="en-US"/>
              <a:t>单击此处编辑母版文本样式</a:t>
            </a:r>
            <a:endParaRPr lang="zh-CN" altLang="en-US"/>
          </a:p>
          <a:p>
            <a:pPr lvl="1">
              <a:lnSpc>
                <a:spcPct val="120000"/>
              </a:lnSpc>
              <a:spcBef>
                <a:spcPts val="600"/>
              </a:spcBef>
            </a:pPr>
            <a:r>
              <a:rPr lang="zh-CN" altLang="en-US"/>
              <a:t>第二级</a:t>
            </a:r>
            <a:endParaRPr lang="zh-CN" altLang="en-US"/>
          </a:p>
          <a:p>
            <a:pPr lvl="2">
              <a:lnSpc>
                <a:spcPct val="120000"/>
              </a:lnSpc>
              <a:spcBef>
                <a:spcPts val="600"/>
              </a:spcBef>
            </a:pPr>
            <a:r>
              <a:rPr lang="zh-CN" altLang="en-US"/>
              <a:t>第三级</a:t>
            </a:r>
            <a:endParaRPr lang="zh-CN" altLang="en-US"/>
          </a:p>
          <a:p>
            <a:pPr lvl="3">
              <a:lnSpc>
                <a:spcPct val="120000"/>
              </a:lnSpc>
              <a:spcBef>
                <a:spcPts val="600"/>
              </a:spcBef>
            </a:pPr>
            <a:r>
              <a:rPr lang="zh-CN" altLang="en-US"/>
              <a:t>第四级</a:t>
            </a:r>
            <a:endParaRPr lang="zh-CN" altLang="en-US"/>
          </a:p>
          <a:p>
            <a:pPr lvl="4">
              <a:lnSpc>
                <a:spcPct val="120000"/>
              </a:lnSpc>
              <a:spcBef>
                <a:spcPts val="600"/>
              </a:spcBef>
            </a:pPr>
            <a:r>
              <a:rPr lang="zh-CN" altLang="en-US"/>
              <a:t>第五级</a:t>
            </a:r>
            <a:endParaRPr lang="en-US" dirty="0"/>
          </a:p>
        </p:txBody>
      </p:sp>
      <p:sp>
        <p:nvSpPr>
          <p:cNvPr id="4" name="Date Placeholder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9113755" y="5393113"/>
            <a:ext cx="2844800" cy="365125"/>
          </a:xfrm>
        </p:spPr>
        <p:txBody>
          <a:bodyPr/>
          <a:lstStyle/>
          <a:p>
            <a:fld id="{0C913308-F349-4B6D-A68A-DD1791B4A57B}" type="slidenum">
              <a:rPr lang="zh-CN" altLang="en-US" smtClean="0"/>
            </a:fld>
            <a:endParaRPr lang="zh-CN" altLang="en-US"/>
          </a:p>
        </p:txBody>
      </p:sp>
      <p:sp>
        <p:nvSpPr>
          <p:cNvPr id="2" name="Title 1"/>
          <p:cNvSpPr>
            <a:spLocks noGrp="1"/>
          </p:cNvSpPr>
          <p:nvPr>
            <p:ph type="title"/>
          </p:nvPr>
        </p:nvSpPr>
        <p:spPr>
          <a:xfrm>
            <a:off x="2590933" y="-603448"/>
            <a:ext cx="9601067" cy="341195"/>
          </a:xfrm>
        </p:spPr>
        <p:txBody>
          <a:bodyPr vert="horz" lIns="91440" tIns="45720" rIns="91440" bIns="45720" rtlCol="0" anchor="ctr">
            <a:noAutofit/>
          </a:bodyPr>
          <a:lstStyle>
            <a:lvl1pPr>
              <a:defRPr lang="en-US" sz="2400" b="1" dirty="0">
                <a:latin typeface="+mn-lt"/>
                <a:ea typeface="+mn-ea"/>
                <a:cs typeface="+mn-cs"/>
              </a:defRPr>
            </a:lvl1pPr>
          </a:lstStyle>
          <a:p>
            <a:pPr marL="0" lvl="0" defTabSz="457200"/>
            <a:r>
              <a:rPr lang="zh-CN" altLang="en-US"/>
              <a:t>单击此处编辑母版标题样式</a:t>
            </a:r>
            <a:endParaRPr lang="en-US" dirty="0"/>
          </a:p>
        </p:txBody>
      </p:sp>
      <p:sp>
        <p:nvSpPr>
          <p:cNvPr id="12" name="Content Placeholder 2"/>
          <p:cNvSpPr>
            <a:spLocks noGrp="1"/>
          </p:cNvSpPr>
          <p:nvPr>
            <p:ph idx="13"/>
          </p:nvPr>
        </p:nvSpPr>
        <p:spPr>
          <a:xfrm>
            <a:off x="481787" y="5445224"/>
            <a:ext cx="8352928" cy="336680"/>
          </a:xfrm>
        </p:spPr>
        <p:txBody>
          <a:bodyPr vert="horz" lIns="91440" tIns="0" rIns="91440" bIns="0" rtlCol="0" anchor="ctr">
            <a:normAutofit/>
          </a:bodyPr>
          <a:lstStyle>
            <a:lvl1pPr marL="0" indent="0">
              <a:lnSpc>
                <a:spcPct val="100000"/>
              </a:lnSpc>
              <a:spcBef>
                <a:spcPts val="0"/>
              </a:spcBef>
              <a:buNone/>
              <a:defRPr lang="zh-CN" altLang="en-US" sz="1100" dirty="0" smtClean="0"/>
            </a:lvl1pPr>
            <a:lvl2pPr>
              <a:defRPr lang="zh-CN" altLang="en-US" sz="1600" dirty="0" smtClean="0"/>
            </a:lvl2pPr>
            <a:lvl3pPr>
              <a:defRPr lang="zh-CN" altLang="en-US" sz="1400" dirty="0" smtClean="0"/>
            </a:lvl3pPr>
            <a:lvl4pPr>
              <a:defRPr lang="zh-CN" altLang="en-US" sz="1200" dirty="0" smtClean="0"/>
            </a:lvl4pPr>
            <a:lvl5pPr>
              <a:defRPr lang="en-US" sz="1200" dirty="0"/>
            </a:lvl5pPr>
          </a:lstStyle>
          <a:p>
            <a:pPr lvl="0">
              <a:lnSpc>
                <a:spcPct val="120000"/>
              </a:lnSpc>
              <a:spcBef>
                <a:spcPts val="600"/>
              </a:spcBef>
            </a:pPr>
            <a:r>
              <a:rPr lang="zh-CN" altLang="en-US"/>
              <a:t>单击此处编辑母版文本样式</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sz="half" idx="1" hasCustomPrompt="1"/>
          </p:nvPr>
        </p:nvSpPr>
        <p:spPr>
          <a:xfrm>
            <a:off x="838200" y="1825625"/>
            <a:ext cx="5181600" cy="4351338"/>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4" name="内容占位符 3"/>
          <p:cNvSpPr>
            <a:spLocks noGrp="1"/>
          </p:cNvSpPr>
          <p:nvPr>
            <p:ph sz="half" idx="2" hasCustomPrompt="1"/>
          </p:nvPr>
        </p:nvSpPr>
        <p:spPr>
          <a:xfrm>
            <a:off x="6172200" y="1825625"/>
            <a:ext cx="5181600" cy="4351338"/>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5" name="日期占位符 4"/>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showMasterSp="0">
  <p:cSld name="slide_titre">
    <p:bg>
      <p:bgPr>
        <a:solidFill>
          <a:schemeClr val="bg1"/>
        </a:solidFill>
        <a:effectLst/>
      </p:bgPr>
    </p:bg>
    <p:spTree>
      <p:nvGrpSpPr>
        <p:cNvPr id="1" name=""/>
        <p:cNvGrpSpPr/>
        <p:nvPr/>
      </p:nvGrpSpPr>
      <p:grpSpPr>
        <a:xfrm>
          <a:off x="0" y="0"/>
          <a:ext cx="0" cy="0"/>
          <a:chOff x="0" y="0"/>
          <a:chExt cx="0" cy="0"/>
        </a:xfrm>
      </p:grpSpPr>
      <p:pic>
        <p:nvPicPr>
          <p:cNvPr id="4" name="Picture 58" descr="fond_150dpi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42437" y="625480"/>
            <a:ext cx="10581217" cy="552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2" descr="SANOFI_Logo_H_2011_Quadri copi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3754" y="6308730"/>
            <a:ext cx="211243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58" name="Rectangle 2"/>
          <p:cNvSpPr>
            <a:spLocks noGrp="1" noChangeArrowheads="1"/>
          </p:cNvSpPr>
          <p:nvPr>
            <p:ph type="ctrTitle" hasCustomPrompt="1"/>
          </p:nvPr>
        </p:nvSpPr>
        <p:spPr>
          <a:xfrm>
            <a:off x="1780121" y="2176468"/>
            <a:ext cx="8614833" cy="1470025"/>
          </a:xfrm>
        </p:spPr>
        <p:txBody>
          <a:bodyPr/>
          <a:lstStyle>
            <a:lvl1pPr>
              <a:defRPr sz="4400">
                <a:solidFill>
                  <a:schemeClr val="bg1"/>
                </a:solidFill>
              </a:defRPr>
            </a:lvl1pPr>
          </a:lstStyle>
          <a:p>
            <a:pPr lvl="0"/>
            <a:r>
              <a:rPr lang="ko-KR" altLang="en-US" noProof="0"/>
              <a:t>마스터 제목 스타일 편집</a:t>
            </a:r>
            <a:endParaRPr lang="en-US" noProof="0"/>
          </a:p>
        </p:txBody>
      </p:sp>
      <p:sp>
        <p:nvSpPr>
          <p:cNvPr id="96259" name="Rectangle 3"/>
          <p:cNvSpPr>
            <a:spLocks noGrp="1" noChangeArrowheads="1"/>
          </p:cNvSpPr>
          <p:nvPr>
            <p:ph type="subTitle" idx="1" hasCustomPrompt="1"/>
          </p:nvPr>
        </p:nvSpPr>
        <p:spPr>
          <a:xfrm>
            <a:off x="1797051" y="4100513"/>
            <a:ext cx="8534400" cy="1752600"/>
          </a:xfrm>
        </p:spPr>
        <p:txBody>
          <a:bodyPr/>
          <a:lstStyle>
            <a:lvl1pPr marL="0" indent="0">
              <a:buFont typeface="Verdana" panose="020B0604030504040204" pitchFamily="34" charset="0"/>
              <a:buNone/>
              <a:defRPr>
                <a:solidFill>
                  <a:schemeClr val="bg1"/>
                </a:solidFill>
              </a:defRPr>
            </a:lvl1pPr>
          </a:lstStyle>
          <a:p>
            <a:pPr lvl="0"/>
            <a:r>
              <a:rPr lang="ko-KR" altLang="en-US" noProof="0"/>
              <a:t>마스터 부제목 스타일 편집</a:t>
            </a:r>
            <a:endParaRPr lang="en-US" noProof="0"/>
          </a:p>
        </p:txBody>
      </p:sp>
      <p:sp>
        <p:nvSpPr>
          <p:cNvPr id="6" name="Rectangle 5"/>
          <p:cNvSpPr>
            <a:spLocks noGrp="1" noChangeArrowheads="1"/>
          </p:cNvSpPr>
          <p:nvPr>
            <p:ph type="sldNum" sz="quarter" idx="10"/>
          </p:nvPr>
        </p:nvSpPr>
        <p:spPr/>
        <p:txBody>
          <a:bodyPr/>
          <a:lstStyle>
            <a:lvl1pPr>
              <a:defRPr/>
            </a:lvl1pPr>
          </a:lstStyle>
          <a:p>
            <a:pPr>
              <a:defRPr/>
            </a:pPr>
            <a:r>
              <a:rPr lang="en-US" dirty="0"/>
              <a:t>|</a:t>
            </a:r>
            <a:r>
              <a:rPr lang="en-US" sz="900" baseline="16000" dirty="0"/>
              <a:t>         </a:t>
            </a:r>
            <a:fld id="{86A49D7C-71E7-4892-92B3-8142D51EA744}" type="slidenum">
              <a:rPr lang="en-US" sz="900" baseline="16000" dirty="0"/>
            </a:fld>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slide_courant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36088" y="284168"/>
            <a:ext cx="10585449" cy="841375"/>
          </a:xfrm>
        </p:spPr>
        <p:txBody>
          <a:bodyPr/>
          <a:lstStyle>
            <a:lvl1pPr>
              <a:defRPr>
                <a:latin typeface="华文细黑" panose="02010600040101010101" pitchFamily="2" charset="-122"/>
                <a:ea typeface="华文细黑" panose="02010600040101010101" pitchFamily="2" charset="-122"/>
              </a:defRPr>
            </a:lvl1pPr>
          </a:lstStyle>
          <a:p>
            <a:r>
              <a:rPr lang="ko-KR" altLang="en-US" noProof="0" dirty="0"/>
              <a:t>마스터 제목 스타일 편집</a:t>
            </a:r>
            <a:endParaRPr lang="en-US" noProof="0" dirty="0"/>
          </a:p>
        </p:txBody>
      </p:sp>
      <p:sp>
        <p:nvSpPr>
          <p:cNvPr id="3" name="Espace réservé du contenu 2"/>
          <p:cNvSpPr>
            <a:spLocks noGrp="1"/>
          </p:cNvSpPr>
          <p:nvPr>
            <p:ph idx="1" hasCustomPrompt="1"/>
          </p:nvPr>
        </p:nvSpPr>
        <p:spPr>
          <a:xfrm>
            <a:off x="836088" y="1390650"/>
            <a:ext cx="10585449" cy="4248150"/>
          </a:xfrm>
        </p:spPr>
        <p:txBody>
          <a:bodyPr/>
          <a:lstStyle>
            <a:lvl1pPr>
              <a:defRPr>
                <a:latin typeface="华文细黑" panose="02010600040101010101" pitchFamily="2" charset="-122"/>
                <a:ea typeface="华文细黑" panose="02010600040101010101" pitchFamily="2" charset="-122"/>
              </a:defRPr>
            </a:lvl1pPr>
            <a:lvl2pPr>
              <a:defRPr>
                <a:latin typeface="华文细黑" panose="02010600040101010101" pitchFamily="2" charset="-122"/>
                <a:ea typeface="华文细黑" panose="02010600040101010101" pitchFamily="2" charset="-122"/>
              </a:defRPr>
            </a:lvl2pPr>
            <a:lvl3pPr>
              <a:defRPr>
                <a:latin typeface="华文细黑" panose="02010600040101010101" pitchFamily="2" charset="-122"/>
                <a:ea typeface="华文细黑" panose="02010600040101010101" pitchFamily="2" charset="-122"/>
              </a:defRPr>
            </a:lvl3pPr>
            <a:lvl4pPr>
              <a:defRPr>
                <a:latin typeface="华文细黑" panose="02010600040101010101" pitchFamily="2" charset="-122"/>
                <a:ea typeface="华文细黑" panose="02010600040101010101" pitchFamily="2" charset="-122"/>
              </a:defRPr>
            </a:lvl4pPr>
            <a:lvl5pPr>
              <a:defRPr>
                <a:latin typeface="华文细黑" panose="02010600040101010101" pitchFamily="2" charset="-122"/>
                <a:ea typeface="华文细黑" panose="02010600040101010101" pitchFamily="2" charset="-122"/>
              </a:defRPr>
            </a:lvl5pPr>
          </a:lstStyle>
          <a:p>
            <a:pPr lvl="0"/>
            <a:r>
              <a:rPr lang="ko-KR" altLang="en-US" noProof="0" dirty="0"/>
              <a:t>마스터 텍스트 스타일을 편집합니다</a:t>
            </a:r>
            <a:endParaRPr lang="ko-KR" altLang="en-US" noProof="0" dirty="0"/>
          </a:p>
          <a:p>
            <a:pPr lvl="1"/>
            <a:r>
              <a:rPr lang="ko-KR" altLang="en-US" noProof="0" dirty="0"/>
              <a:t>둘째 수준</a:t>
            </a:r>
            <a:endParaRPr lang="ko-KR" altLang="en-US" noProof="0" dirty="0"/>
          </a:p>
          <a:p>
            <a:pPr lvl="2"/>
            <a:r>
              <a:rPr lang="ko-KR" altLang="en-US" noProof="0" dirty="0"/>
              <a:t>셋째 수준</a:t>
            </a:r>
            <a:endParaRPr lang="ko-KR" altLang="en-US" noProof="0" dirty="0"/>
          </a:p>
          <a:p>
            <a:pPr lvl="3"/>
            <a:r>
              <a:rPr lang="ko-KR" altLang="en-US" noProof="0" dirty="0"/>
              <a:t>넷째 수준</a:t>
            </a:r>
            <a:endParaRPr lang="ko-KR" altLang="en-US" noProof="0" dirty="0"/>
          </a:p>
          <a:p>
            <a:pPr lvl="4"/>
            <a:r>
              <a:rPr lang="ko-KR" altLang="en-US" noProof="0" dirty="0"/>
              <a:t>다섯째 수준</a:t>
            </a:r>
            <a:endParaRPr lang="en-US" noProof="0" dirty="0"/>
          </a:p>
        </p:txBody>
      </p:sp>
      <p:sp>
        <p:nvSpPr>
          <p:cNvPr id="4" name="Rectangle 28"/>
          <p:cNvSpPr>
            <a:spLocks noGrp="1" noChangeArrowheads="1"/>
          </p:cNvSpPr>
          <p:nvPr>
            <p:ph type="ftr" sz="quarter" idx="10"/>
          </p:nvPr>
        </p:nvSpPr>
        <p:spPr/>
        <p:txBody>
          <a:bodyPr/>
          <a:lstStyle>
            <a:lvl1pPr>
              <a:defRPr/>
            </a:lvl1pPr>
          </a:lstStyle>
          <a:p>
            <a:pPr>
              <a:defRPr/>
            </a:pPr>
            <a:r>
              <a:rPr lang="en-US" dirty="0"/>
              <a:t>NAME OF PRESENTATION</a:t>
            </a:r>
            <a:endParaRPr lang="en-US" dirty="0"/>
          </a:p>
        </p:txBody>
      </p:sp>
      <p:sp>
        <p:nvSpPr>
          <p:cNvPr id="5" name="Rectangle 40"/>
          <p:cNvSpPr>
            <a:spLocks noGrp="1" noChangeArrowheads="1"/>
          </p:cNvSpPr>
          <p:nvPr>
            <p:ph type="sldNum" sz="quarter" idx="11"/>
          </p:nvPr>
        </p:nvSpPr>
        <p:spPr/>
        <p:txBody>
          <a:bodyPr/>
          <a:lstStyle>
            <a:lvl1pPr>
              <a:defRPr/>
            </a:lvl1pPr>
          </a:lstStyle>
          <a:p>
            <a:pPr>
              <a:defRPr/>
            </a:pPr>
            <a:r>
              <a:rPr lang="en-US" dirty="0"/>
              <a:t>|</a:t>
            </a:r>
            <a:r>
              <a:rPr lang="en-US" sz="900" baseline="16000" dirty="0"/>
              <a:t>         </a:t>
            </a:r>
            <a:fld id="{9BA3DCCA-1B7F-4773-8B93-DDB2F55C273D}" type="slidenum">
              <a:rPr lang="en-US" sz="900" baseline="16000" dirty="0"/>
            </a:fld>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36088" y="284168"/>
            <a:ext cx="10585449" cy="841375"/>
          </a:xfrm>
        </p:spPr>
        <p:txBody>
          <a:bodyPr/>
          <a:lstStyle/>
          <a:p>
            <a:r>
              <a:rPr lang="ko-KR" altLang="en-US" noProof="0"/>
              <a:t>마스터 제목 스타일 편집</a:t>
            </a:r>
            <a:endParaRPr lang="en-US" noProof="0"/>
          </a:p>
        </p:txBody>
      </p:sp>
      <p:sp>
        <p:nvSpPr>
          <p:cNvPr id="3" name="Espace réservé du contenu 2"/>
          <p:cNvSpPr>
            <a:spLocks noGrp="1"/>
          </p:cNvSpPr>
          <p:nvPr>
            <p:ph sz="half" idx="1" hasCustomPrompt="1"/>
          </p:nvPr>
        </p:nvSpPr>
        <p:spPr>
          <a:xfrm>
            <a:off x="836085" y="1390650"/>
            <a:ext cx="5139267" cy="424815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ko-KR" altLang="en-US" noProof="0"/>
              <a:t>마스터 텍스트 스타일을 편집합니다</a:t>
            </a:r>
            <a:endParaRPr lang="ko-KR" altLang="en-US" noProof="0"/>
          </a:p>
          <a:p>
            <a:pPr lvl="1"/>
            <a:r>
              <a:rPr lang="ko-KR" altLang="en-US" noProof="0"/>
              <a:t>둘째 수준</a:t>
            </a:r>
            <a:endParaRPr lang="ko-KR" altLang="en-US" noProof="0"/>
          </a:p>
          <a:p>
            <a:pPr lvl="2"/>
            <a:r>
              <a:rPr lang="ko-KR" altLang="en-US" noProof="0"/>
              <a:t>셋째 수준</a:t>
            </a:r>
            <a:endParaRPr lang="ko-KR" altLang="en-US" noProof="0"/>
          </a:p>
          <a:p>
            <a:pPr lvl="3"/>
            <a:r>
              <a:rPr lang="ko-KR" altLang="en-US" noProof="0"/>
              <a:t>넷째 수준</a:t>
            </a:r>
            <a:endParaRPr lang="ko-KR" altLang="en-US" noProof="0"/>
          </a:p>
          <a:p>
            <a:pPr lvl="4"/>
            <a:r>
              <a:rPr lang="ko-KR" altLang="en-US" noProof="0"/>
              <a:t>다섯째 수준</a:t>
            </a:r>
            <a:endParaRPr lang="en-US" noProof="0"/>
          </a:p>
        </p:txBody>
      </p:sp>
      <p:sp>
        <p:nvSpPr>
          <p:cNvPr id="4" name="Espace réservé du contenu 3"/>
          <p:cNvSpPr>
            <a:spLocks noGrp="1"/>
          </p:cNvSpPr>
          <p:nvPr>
            <p:ph sz="half" idx="2" hasCustomPrompt="1"/>
          </p:nvPr>
        </p:nvSpPr>
        <p:spPr>
          <a:xfrm>
            <a:off x="6178554" y="1390650"/>
            <a:ext cx="5242983" cy="424815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ko-KR" altLang="en-US" noProof="0"/>
              <a:t>마스터 텍스트 스타일을 편집합니다</a:t>
            </a:r>
            <a:endParaRPr lang="ko-KR" altLang="en-US" noProof="0"/>
          </a:p>
          <a:p>
            <a:pPr lvl="1"/>
            <a:r>
              <a:rPr lang="ko-KR" altLang="en-US" noProof="0"/>
              <a:t>둘째 수준</a:t>
            </a:r>
            <a:endParaRPr lang="ko-KR" altLang="en-US" noProof="0"/>
          </a:p>
          <a:p>
            <a:pPr lvl="2"/>
            <a:r>
              <a:rPr lang="ko-KR" altLang="en-US" noProof="0"/>
              <a:t>셋째 수준</a:t>
            </a:r>
            <a:endParaRPr lang="ko-KR" altLang="en-US" noProof="0"/>
          </a:p>
          <a:p>
            <a:pPr lvl="3"/>
            <a:r>
              <a:rPr lang="ko-KR" altLang="en-US" noProof="0"/>
              <a:t>넷째 수준</a:t>
            </a:r>
            <a:endParaRPr lang="ko-KR" altLang="en-US" noProof="0"/>
          </a:p>
          <a:p>
            <a:pPr lvl="4"/>
            <a:r>
              <a:rPr lang="ko-KR" altLang="en-US" noProof="0"/>
              <a:t>다섯째 수준</a:t>
            </a:r>
            <a:endParaRPr lang="en-US" noProof="0"/>
          </a:p>
        </p:txBody>
      </p:sp>
      <p:sp>
        <p:nvSpPr>
          <p:cNvPr id="5" name="Rectangle 28"/>
          <p:cNvSpPr>
            <a:spLocks noGrp="1" noChangeArrowheads="1"/>
          </p:cNvSpPr>
          <p:nvPr>
            <p:ph type="ftr" sz="quarter" idx="10"/>
          </p:nvPr>
        </p:nvSpPr>
        <p:spPr/>
        <p:txBody>
          <a:bodyPr/>
          <a:lstStyle>
            <a:lvl1pPr>
              <a:defRPr/>
            </a:lvl1pPr>
          </a:lstStyle>
          <a:p>
            <a:pPr>
              <a:defRPr/>
            </a:pPr>
            <a:r>
              <a:rPr lang="en-US" dirty="0"/>
              <a:t>NAME OF PRESENTATION</a:t>
            </a:r>
            <a:endParaRPr lang="en-US" dirty="0"/>
          </a:p>
        </p:txBody>
      </p:sp>
      <p:sp>
        <p:nvSpPr>
          <p:cNvPr id="6" name="Rectangle 40"/>
          <p:cNvSpPr>
            <a:spLocks noGrp="1" noChangeArrowheads="1"/>
          </p:cNvSpPr>
          <p:nvPr>
            <p:ph type="sldNum" sz="quarter" idx="11"/>
          </p:nvPr>
        </p:nvSpPr>
        <p:spPr/>
        <p:txBody>
          <a:bodyPr/>
          <a:lstStyle>
            <a:lvl1pPr>
              <a:defRPr/>
            </a:lvl1pPr>
          </a:lstStyle>
          <a:p>
            <a:pPr>
              <a:defRPr/>
            </a:pPr>
            <a:r>
              <a:rPr lang="en-US" dirty="0"/>
              <a:t>|</a:t>
            </a:r>
            <a:r>
              <a:rPr lang="en-US" sz="900" baseline="16000" dirty="0"/>
              <a:t>         </a:t>
            </a:r>
            <a:fld id="{C460ABE8-FAE4-4113-A5A9-69EAA091A499}" type="slidenum">
              <a:rPr lang="en-US" sz="900" baseline="16000" dirty="0"/>
            </a:fld>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31452" y="291114"/>
            <a:ext cx="10579101" cy="850106"/>
          </a:xfrm>
        </p:spPr>
        <p:txBody>
          <a:bodyPr/>
          <a:lstStyle>
            <a:lvl1pPr>
              <a:defRPr/>
            </a:lvl1pPr>
          </a:lstStyle>
          <a:p>
            <a:r>
              <a:rPr lang="ko-KR" altLang="en-US" noProof="0"/>
              <a:t>마스터 제목 스타일 편집</a:t>
            </a:r>
            <a:endParaRPr lang="en-US" noProof="0"/>
          </a:p>
        </p:txBody>
      </p:sp>
      <p:sp>
        <p:nvSpPr>
          <p:cNvPr id="3" name="Espace réservé du texte 2"/>
          <p:cNvSpPr>
            <a:spLocks noGrp="1"/>
          </p:cNvSpPr>
          <p:nvPr>
            <p:ph type="body" idx="1" hasCustomPrompt="1"/>
          </p:nvPr>
        </p:nvSpPr>
        <p:spPr>
          <a:xfrm>
            <a:off x="842435" y="1535113"/>
            <a:ext cx="5154084"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noProof="0"/>
              <a:t>마스터 텍스트 스타일을 편집합니다</a:t>
            </a:r>
            <a:endParaRPr lang="ko-KR" altLang="en-US" noProof="0"/>
          </a:p>
        </p:txBody>
      </p:sp>
      <p:sp>
        <p:nvSpPr>
          <p:cNvPr id="4" name="Espace réservé du contenu 3"/>
          <p:cNvSpPr>
            <a:spLocks noGrp="1"/>
          </p:cNvSpPr>
          <p:nvPr>
            <p:ph sz="half" idx="2" hasCustomPrompt="1"/>
          </p:nvPr>
        </p:nvSpPr>
        <p:spPr>
          <a:xfrm>
            <a:off x="842435" y="2174880"/>
            <a:ext cx="5154084" cy="3702397"/>
          </a:xfrm>
        </p:spPr>
        <p:txBody>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ko-KR" altLang="en-US" noProof="0"/>
              <a:t>마스터 텍스트 스타일을 편집합니다</a:t>
            </a:r>
            <a:endParaRPr lang="ko-KR" altLang="en-US" noProof="0"/>
          </a:p>
          <a:p>
            <a:pPr lvl="1"/>
            <a:r>
              <a:rPr lang="ko-KR" altLang="en-US" noProof="0"/>
              <a:t>둘째 수준</a:t>
            </a:r>
            <a:endParaRPr lang="ko-KR" altLang="en-US" noProof="0"/>
          </a:p>
          <a:p>
            <a:pPr lvl="2"/>
            <a:r>
              <a:rPr lang="ko-KR" altLang="en-US" noProof="0"/>
              <a:t>셋째 수준</a:t>
            </a:r>
            <a:endParaRPr lang="ko-KR" altLang="en-US" noProof="0"/>
          </a:p>
          <a:p>
            <a:pPr lvl="3"/>
            <a:r>
              <a:rPr lang="ko-KR" altLang="en-US" noProof="0"/>
              <a:t>넷째 수준</a:t>
            </a:r>
            <a:endParaRPr lang="ko-KR" altLang="en-US" noProof="0"/>
          </a:p>
          <a:p>
            <a:pPr lvl="4"/>
            <a:r>
              <a:rPr lang="ko-KR" altLang="en-US" noProof="0"/>
              <a:t>다섯째 수준</a:t>
            </a:r>
            <a:endParaRPr lang="en-US" noProof="0"/>
          </a:p>
        </p:txBody>
      </p:sp>
      <p:sp>
        <p:nvSpPr>
          <p:cNvPr id="5" name="Espace réservé du texte 4"/>
          <p:cNvSpPr>
            <a:spLocks noGrp="1"/>
          </p:cNvSpPr>
          <p:nvPr>
            <p:ph type="body" sz="quarter" idx="3" hasCustomPrompt="1"/>
          </p:nvPr>
        </p:nvSpPr>
        <p:spPr>
          <a:xfrm>
            <a:off x="6193370" y="1535113"/>
            <a:ext cx="5228167"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noProof="0"/>
              <a:t>마스터 텍스트 스타일을 편집합니다</a:t>
            </a:r>
            <a:endParaRPr lang="ko-KR" altLang="en-US" noProof="0"/>
          </a:p>
        </p:txBody>
      </p:sp>
      <p:sp>
        <p:nvSpPr>
          <p:cNvPr id="6" name="Espace réservé du contenu 5"/>
          <p:cNvSpPr>
            <a:spLocks noGrp="1"/>
          </p:cNvSpPr>
          <p:nvPr>
            <p:ph sz="quarter" idx="4" hasCustomPrompt="1"/>
          </p:nvPr>
        </p:nvSpPr>
        <p:spPr>
          <a:xfrm>
            <a:off x="6193370" y="2174880"/>
            <a:ext cx="5228167" cy="3702397"/>
          </a:xfrm>
        </p:spPr>
        <p:txBody>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ko-KR" altLang="en-US" noProof="0"/>
              <a:t>마스터 텍스트 스타일을 편집합니다</a:t>
            </a:r>
            <a:endParaRPr lang="ko-KR" altLang="en-US" noProof="0"/>
          </a:p>
          <a:p>
            <a:pPr lvl="1"/>
            <a:r>
              <a:rPr lang="ko-KR" altLang="en-US" noProof="0"/>
              <a:t>둘째 수준</a:t>
            </a:r>
            <a:endParaRPr lang="ko-KR" altLang="en-US" noProof="0"/>
          </a:p>
          <a:p>
            <a:pPr lvl="2"/>
            <a:r>
              <a:rPr lang="ko-KR" altLang="en-US" noProof="0"/>
              <a:t>셋째 수준</a:t>
            </a:r>
            <a:endParaRPr lang="ko-KR" altLang="en-US" noProof="0"/>
          </a:p>
          <a:p>
            <a:pPr lvl="3"/>
            <a:r>
              <a:rPr lang="ko-KR" altLang="en-US" noProof="0"/>
              <a:t>넷째 수준</a:t>
            </a:r>
            <a:endParaRPr lang="ko-KR" altLang="en-US" noProof="0"/>
          </a:p>
          <a:p>
            <a:pPr lvl="4"/>
            <a:r>
              <a:rPr lang="ko-KR" altLang="en-US" noProof="0"/>
              <a:t>다섯째 수준</a:t>
            </a:r>
            <a:endParaRPr lang="en-US" noProof="0"/>
          </a:p>
        </p:txBody>
      </p:sp>
      <p:sp>
        <p:nvSpPr>
          <p:cNvPr id="7" name="Rectangle 28"/>
          <p:cNvSpPr>
            <a:spLocks noGrp="1" noChangeArrowheads="1"/>
          </p:cNvSpPr>
          <p:nvPr>
            <p:ph type="ftr" sz="quarter" idx="10"/>
          </p:nvPr>
        </p:nvSpPr>
        <p:spPr/>
        <p:txBody>
          <a:bodyPr/>
          <a:lstStyle>
            <a:lvl1pPr>
              <a:defRPr/>
            </a:lvl1pPr>
          </a:lstStyle>
          <a:p>
            <a:pPr>
              <a:defRPr/>
            </a:pPr>
            <a:r>
              <a:rPr lang="en-US" dirty="0"/>
              <a:t>NAME OF PRESENTATION</a:t>
            </a:r>
            <a:endParaRPr lang="en-US" dirty="0"/>
          </a:p>
        </p:txBody>
      </p:sp>
      <p:sp>
        <p:nvSpPr>
          <p:cNvPr id="8" name="Rectangle 40"/>
          <p:cNvSpPr>
            <a:spLocks noGrp="1" noChangeArrowheads="1"/>
          </p:cNvSpPr>
          <p:nvPr>
            <p:ph type="sldNum" sz="quarter" idx="11"/>
          </p:nvPr>
        </p:nvSpPr>
        <p:spPr/>
        <p:txBody>
          <a:bodyPr/>
          <a:lstStyle>
            <a:lvl1pPr>
              <a:defRPr/>
            </a:lvl1pPr>
          </a:lstStyle>
          <a:p>
            <a:pPr>
              <a:defRPr/>
            </a:pPr>
            <a:r>
              <a:rPr lang="en-US" dirty="0"/>
              <a:t>|</a:t>
            </a:r>
            <a:r>
              <a:rPr lang="en-US" sz="900" baseline="16000" dirty="0"/>
              <a:t>         </a:t>
            </a:r>
            <a:fld id="{DD8E682C-5E3E-4FAF-AB87-3CB3F9A69B26}" type="slidenum">
              <a:rPr lang="en-US" sz="900" baseline="16000" dirty="0"/>
            </a:fld>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42435" y="4800600"/>
            <a:ext cx="10579100" cy="566738"/>
          </a:xfrm>
        </p:spPr>
        <p:txBody>
          <a:bodyPr anchor="b"/>
          <a:lstStyle>
            <a:lvl1pPr algn="l">
              <a:defRPr sz="2000" b="1"/>
            </a:lvl1pPr>
          </a:lstStyle>
          <a:p>
            <a:r>
              <a:rPr lang="ko-KR" altLang="en-US" noProof="0"/>
              <a:t>마스터 제목 스타일 편집</a:t>
            </a:r>
            <a:endParaRPr lang="en-US" noProof="0"/>
          </a:p>
        </p:txBody>
      </p:sp>
      <p:sp>
        <p:nvSpPr>
          <p:cNvPr id="3" name="Espace réservé pour une image  2"/>
          <p:cNvSpPr>
            <a:spLocks noGrp="1"/>
          </p:cNvSpPr>
          <p:nvPr>
            <p:ph type="pic" idx="1" hasCustomPrompt="1"/>
          </p:nvPr>
        </p:nvSpPr>
        <p:spPr>
          <a:xfrm>
            <a:off x="842435" y="1340772"/>
            <a:ext cx="10579100" cy="338680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ko-KR" altLang="en-US" noProof="0"/>
              <a:t>그림을 추가하려면 아이콘을 클릭하십시오</a:t>
            </a:r>
            <a:endParaRPr lang="en-US" noProof="0" dirty="0"/>
          </a:p>
        </p:txBody>
      </p:sp>
      <p:sp>
        <p:nvSpPr>
          <p:cNvPr id="4" name="Espace réservé du texte 3"/>
          <p:cNvSpPr>
            <a:spLocks noGrp="1"/>
          </p:cNvSpPr>
          <p:nvPr>
            <p:ph type="body" sz="half" idx="2" hasCustomPrompt="1"/>
          </p:nvPr>
        </p:nvSpPr>
        <p:spPr>
          <a:xfrm>
            <a:off x="842435" y="5367338"/>
            <a:ext cx="10579100" cy="58194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ko-KR" altLang="en-US" noProof="0"/>
              <a:t>마스터 텍스트 스타일을 편집합니다</a:t>
            </a:r>
            <a:endParaRPr lang="ko-KR" altLang="en-US" noProof="0"/>
          </a:p>
        </p:txBody>
      </p:sp>
      <p:sp>
        <p:nvSpPr>
          <p:cNvPr id="5" name="Rectangle 28"/>
          <p:cNvSpPr>
            <a:spLocks noGrp="1" noChangeArrowheads="1"/>
          </p:cNvSpPr>
          <p:nvPr>
            <p:ph type="ftr" sz="quarter" idx="10"/>
          </p:nvPr>
        </p:nvSpPr>
        <p:spPr/>
        <p:txBody>
          <a:bodyPr/>
          <a:lstStyle>
            <a:lvl1pPr>
              <a:defRPr/>
            </a:lvl1pPr>
          </a:lstStyle>
          <a:p>
            <a:pPr>
              <a:defRPr/>
            </a:pPr>
            <a:r>
              <a:rPr lang="en-US" dirty="0"/>
              <a:t>NAME OF PRESENTATION</a:t>
            </a:r>
            <a:endParaRPr lang="en-US" dirty="0"/>
          </a:p>
        </p:txBody>
      </p:sp>
      <p:sp>
        <p:nvSpPr>
          <p:cNvPr id="6" name="Rectangle 40"/>
          <p:cNvSpPr>
            <a:spLocks noGrp="1" noChangeArrowheads="1"/>
          </p:cNvSpPr>
          <p:nvPr>
            <p:ph type="sldNum" sz="quarter" idx="11"/>
          </p:nvPr>
        </p:nvSpPr>
        <p:spPr/>
        <p:txBody>
          <a:bodyPr/>
          <a:lstStyle>
            <a:lvl1pPr>
              <a:defRPr/>
            </a:lvl1pPr>
          </a:lstStyle>
          <a:p>
            <a:pPr>
              <a:defRPr/>
            </a:pPr>
            <a:r>
              <a:rPr lang="en-US" dirty="0"/>
              <a:t>|</a:t>
            </a:r>
            <a:r>
              <a:rPr lang="en-US" sz="900" baseline="16000" dirty="0"/>
              <a:t>         </a:t>
            </a:r>
            <a:fld id="{BB742016-0E46-4C32-B9B1-718CF4975184}" type="slidenum">
              <a:rPr lang="en-US" sz="900" baseline="16000" dirty="0"/>
            </a:fld>
            <a:endParaRPr 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lide_fin">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842437" y="625480"/>
            <a:ext cx="10581217" cy="5527675"/>
          </a:xfrm>
          <a:prstGeom prst="rect">
            <a:avLst/>
          </a:prstGeom>
          <a:solidFill>
            <a:srgbClr val="BCA36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dirty="0">
              <a:solidFill>
                <a:srgbClr val="444492"/>
              </a:solidFill>
            </a:endParaRPr>
          </a:p>
        </p:txBody>
      </p:sp>
      <p:sp>
        <p:nvSpPr>
          <p:cNvPr id="7" name="Titre 1"/>
          <p:cNvSpPr>
            <a:spLocks noGrp="1"/>
          </p:cNvSpPr>
          <p:nvPr>
            <p:ph type="title" hasCustomPrompt="1"/>
          </p:nvPr>
        </p:nvSpPr>
        <p:spPr>
          <a:xfrm>
            <a:off x="836087" y="3007803"/>
            <a:ext cx="10564228" cy="841375"/>
          </a:xfrm>
        </p:spPr>
        <p:txBody>
          <a:bodyPr/>
          <a:lstStyle>
            <a:lvl1pPr algn="ctr">
              <a:defRPr>
                <a:solidFill>
                  <a:schemeClr val="bg1"/>
                </a:solidFill>
              </a:defRPr>
            </a:lvl1pPr>
          </a:lstStyle>
          <a:p>
            <a:r>
              <a:rPr lang="ko-KR" altLang="en-US" noProof="0"/>
              <a:t>마스터 제목 스타일 편집</a:t>
            </a:r>
            <a:endParaRPr lang="en-US" noProof="0"/>
          </a:p>
        </p:txBody>
      </p:sp>
      <p:sp>
        <p:nvSpPr>
          <p:cNvPr id="4" name="Espace réservé du pied de page 2"/>
          <p:cNvSpPr>
            <a:spLocks noGrp="1"/>
          </p:cNvSpPr>
          <p:nvPr>
            <p:ph type="ftr" sz="quarter" idx="10"/>
          </p:nvPr>
        </p:nvSpPr>
        <p:spPr/>
        <p:txBody>
          <a:bodyPr/>
          <a:lstStyle>
            <a:lvl1pPr>
              <a:defRPr/>
            </a:lvl1pPr>
          </a:lstStyle>
          <a:p>
            <a:pPr>
              <a:defRPr/>
            </a:pPr>
            <a:r>
              <a:rPr lang="en-US" dirty="0"/>
              <a:t>NAME OF PRESENTATION</a:t>
            </a:r>
            <a:endParaRPr lang="en-US" dirty="0"/>
          </a:p>
        </p:txBody>
      </p:sp>
      <p:sp>
        <p:nvSpPr>
          <p:cNvPr id="5" name="Espace réservé du numéro de diapositive 3"/>
          <p:cNvSpPr>
            <a:spLocks noGrp="1"/>
          </p:cNvSpPr>
          <p:nvPr>
            <p:ph type="sldNum" sz="quarter" idx="11"/>
          </p:nvPr>
        </p:nvSpPr>
        <p:spPr/>
        <p:txBody>
          <a:bodyPr/>
          <a:lstStyle>
            <a:lvl1pPr>
              <a:defRPr/>
            </a:lvl1pPr>
          </a:lstStyle>
          <a:p>
            <a:pPr>
              <a:defRPr/>
            </a:pPr>
            <a:r>
              <a:rPr lang="en-US" dirty="0"/>
              <a:t>|</a:t>
            </a:r>
            <a:r>
              <a:rPr lang="en-US" sz="900" baseline="16000" dirty="0"/>
              <a:t>         </a:t>
            </a:r>
            <a:fld id="{E2C20B9B-B8DC-4714-BA8D-DBE7B7119510}" type="slidenum">
              <a:rPr lang="en-US" sz="900" baseline="16000" dirty="0"/>
            </a:fld>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4" name="Rectangle 2"/>
          <p:cNvSpPr>
            <a:spLocks noChangeArrowheads="1"/>
          </p:cNvSpPr>
          <p:nvPr/>
        </p:nvSpPr>
        <p:spPr bwMode="auto">
          <a:xfrm>
            <a:off x="0" y="0"/>
            <a:ext cx="12192000" cy="3657600"/>
          </a:xfrm>
          <a:prstGeom prst="rect">
            <a:avLst/>
          </a:prstGeom>
          <a:gradFill rotWithShape="0">
            <a:gsLst>
              <a:gs pos="0">
                <a:srgbClr val="040B1A"/>
              </a:gs>
              <a:gs pos="100000">
                <a:srgbClr val="112F75">
                  <a:alpha val="0"/>
                </a:srgbClr>
              </a:gs>
            </a:gsLst>
            <a:lin ang="0" scaled="1"/>
          </a:gradFill>
          <a:ln>
            <a:noFill/>
          </a:ln>
        </p:spPr>
        <p:txBody>
          <a:bodyPr wrap="none" anchor="ctr"/>
          <a:lstStyle>
            <a:lvl1pPr eaLnBrk="0" hangingPunct="0">
              <a:defRPr>
                <a:solidFill>
                  <a:srgbClr val="FFFF00"/>
                </a:solidFill>
                <a:latin typeface="Arial" panose="020B0604020202020204" pitchFamily="34" charset="0"/>
                <a:cs typeface="Arial" panose="020B0604020202020204" pitchFamily="34" charset="0"/>
              </a:defRPr>
            </a:lvl1pPr>
            <a:lvl2pPr marL="742950" indent="-285750" eaLnBrk="0" hangingPunct="0">
              <a:defRPr>
                <a:solidFill>
                  <a:srgbClr val="FFFF00"/>
                </a:solidFill>
                <a:latin typeface="Arial" panose="020B0604020202020204" pitchFamily="34" charset="0"/>
                <a:cs typeface="Arial" panose="020B0604020202020204" pitchFamily="34" charset="0"/>
              </a:defRPr>
            </a:lvl2pPr>
            <a:lvl3pPr marL="1143000" indent="-228600" eaLnBrk="0" hangingPunct="0">
              <a:defRPr>
                <a:solidFill>
                  <a:srgbClr val="FFFF00"/>
                </a:solidFill>
                <a:latin typeface="Arial" panose="020B0604020202020204" pitchFamily="34" charset="0"/>
                <a:cs typeface="Arial" panose="020B0604020202020204" pitchFamily="34" charset="0"/>
              </a:defRPr>
            </a:lvl3pPr>
            <a:lvl4pPr marL="1600200" indent="-228600" eaLnBrk="0" hangingPunct="0">
              <a:defRPr>
                <a:solidFill>
                  <a:srgbClr val="FFFF00"/>
                </a:solidFill>
                <a:latin typeface="Arial" panose="020B0604020202020204" pitchFamily="34" charset="0"/>
                <a:cs typeface="Arial" panose="020B0604020202020204" pitchFamily="34" charset="0"/>
              </a:defRPr>
            </a:lvl4pPr>
            <a:lvl5pPr marL="2057400" indent="-228600" eaLnBrk="0" hangingPunct="0">
              <a:defRPr>
                <a:solidFill>
                  <a:srgbClr val="FFFF00"/>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a:solidFill>
                  <a:srgbClr val="FFFF00"/>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a:solidFill>
                  <a:srgbClr val="FFFF00"/>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a:solidFill>
                  <a:srgbClr val="FFFF00"/>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a:solidFill>
                  <a:srgbClr val="FFFF00"/>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endParaRPr lang="zh-CN" altLang="en-US"/>
          </a:p>
        </p:txBody>
      </p:sp>
      <p:sp>
        <p:nvSpPr>
          <p:cNvPr id="5" name="Line 5"/>
          <p:cNvSpPr>
            <a:spLocks noChangeShapeType="1"/>
          </p:cNvSpPr>
          <p:nvPr/>
        </p:nvSpPr>
        <p:spPr bwMode="auto">
          <a:xfrm>
            <a:off x="0" y="3657600"/>
            <a:ext cx="12192000" cy="0"/>
          </a:xfrm>
          <a:prstGeom prst="line">
            <a:avLst/>
          </a:prstGeom>
          <a:noFill/>
          <a:ln w="50800">
            <a:solidFill>
              <a:srgbClr val="EC008C"/>
            </a:solidFill>
            <a:round/>
          </a:ln>
        </p:spPr>
        <p:txBody>
          <a:bodyPr/>
          <a:lstStyle/>
          <a:p>
            <a:pPr algn="ctr" fontAlgn="base">
              <a:spcBef>
                <a:spcPct val="0"/>
              </a:spcBef>
              <a:spcAft>
                <a:spcPct val="0"/>
              </a:spcAft>
              <a:defRPr/>
            </a:pPr>
            <a:endParaRPr lang="zh-CN" altLang="en-US">
              <a:solidFill>
                <a:srgbClr val="FFFF00"/>
              </a:solidFill>
              <a:cs typeface="Arial" panose="020B0604020202020204" pitchFamily="34" charset="0"/>
            </a:endParaRPr>
          </a:p>
        </p:txBody>
      </p:sp>
      <p:sp>
        <p:nvSpPr>
          <p:cNvPr id="191491" name="Rectangle 3"/>
          <p:cNvSpPr>
            <a:spLocks noGrp="1" noChangeArrowheads="1"/>
          </p:cNvSpPr>
          <p:nvPr>
            <p:ph type="ctrTitle"/>
          </p:nvPr>
        </p:nvSpPr>
        <p:spPr>
          <a:xfrm>
            <a:off x="914400" y="2286000"/>
            <a:ext cx="10363200" cy="1143000"/>
          </a:xfrm>
        </p:spPr>
        <p:txBody>
          <a:bodyPr/>
          <a:lstStyle>
            <a:lvl1pPr>
              <a:defRPr sz="3600"/>
            </a:lvl1pPr>
          </a:lstStyle>
          <a:p>
            <a:pPr lvl="0"/>
            <a:r>
              <a:rPr lang="zh-CN" altLang="en-US" noProof="0"/>
              <a:t>单击此处编辑母版标题样式</a:t>
            </a:r>
            <a:endParaRPr lang="en-US" altLang="zh-CN" noProof="0"/>
          </a:p>
        </p:txBody>
      </p:sp>
      <p:sp>
        <p:nvSpPr>
          <p:cNvPr id="191492" name="Rectangle 4"/>
          <p:cNvSpPr>
            <a:spLocks noGrp="1" noChangeArrowheads="1"/>
          </p:cNvSpPr>
          <p:nvPr>
            <p:ph type="subTitle" idx="1"/>
          </p:nvPr>
        </p:nvSpPr>
        <p:spPr>
          <a:xfrm>
            <a:off x="914400" y="3886200"/>
            <a:ext cx="8534400" cy="1752600"/>
          </a:xfrm>
        </p:spPr>
        <p:txBody>
          <a:bodyPr/>
          <a:lstStyle>
            <a:lvl1pPr marL="0" indent="0">
              <a:buFontTx/>
              <a:buNone/>
              <a:defRPr sz="2800"/>
            </a:lvl1pPr>
          </a:lstStyle>
          <a:p>
            <a:pPr lvl="0"/>
            <a:r>
              <a:rPr lang="zh-CN" altLang="en-US" noProof="0"/>
              <a:t>单击此处编辑母版副标题样式</a:t>
            </a:r>
            <a:endParaRPr lang="en-US" altLang="zh-CN" noProof="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endParaRPr lang="zh-CN" altLang="en-US" noProof="1"/>
          </a:p>
        </p:txBody>
      </p:sp>
      <p:sp>
        <p:nvSpPr>
          <p:cNvPr id="3" name="内容占位符 2"/>
          <p:cNvSpPr>
            <a:spLocks noGrp="1"/>
          </p:cNvSpPr>
          <p:nvPr>
            <p:ph idx="1"/>
          </p:nvPr>
        </p:nvSpPr>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7"/>
            <a:ext cx="10363200" cy="1362075"/>
          </a:xfrm>
        </p:spPr>
        <p:txBody>
          <a:bodyPr anchor="t"/>
          <a:lstStyle>
            <a:lvl1pPr algn="l">
              <a:defRPr sz="4000" b="1" cap="all"/>
            </a:lvl1pPr>
          </a:lstStyle>
          <a:p>
            <a:r>
              <a:rPr lang="zh-CN" altLang="en-US" noProof="1"/>
              <a:t>单击此处编辑母版标题样式</a:t>
            </a:r>
            <a:endParaRPr lang="zh-CN" altLang="en-US" noProof="1"/>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noProof="1"/>
              <a:t>单击此处编辑母版文本样式</a:t>
            </a:r>
            <a:endParaRPr lang="zh-CN" altLang="en-US" noProof="1"/>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endParaRPr lang="zh-CN" altLang="en-US" noProof="1"/>
          </a:p>
        </p:txBody>
      </p:sp>
      <p:sp>
        <p:nvSpPr>
          <p:cNvPr id="3" name="内容占位符 2"/>
          <p:cNvSpPr>
            <a:spLocks noGrp="1"/>
          </p:cNvSpPr>
          <p:nvPr>
            <p:ph sz="half" idx="1"/>
          </p:nvPr>
        </p:nvSpPr>
        <p:spPr>
          <a:xfrm>
            <a:off x="393700" y="1676400"/>
            <a:ext cx="54356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4" name="内容占位符 3"/>
          <p:cNvSpPr>
            <a:spLocks noGrp="1"/>
          </p:cNvSpPr>
          <p:nvPr>
            <p:ph sz="half" idx="2"/>
          </p:nvPr>
        </p:nvSpPr>
        <p:spPr>
          <a:xfrm>
            <a:off x="6032500" y="1676400"/>
            <a:ext cx="54356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pPr fontAlgn="base"/>
            <a:r>
              <a:rPr lang="zh-CN" altLang="en-US" strike="noStrike" noProof="1"/>
              <a:t>单击此处编辑母版标题样式</a:t>
            </a:r>
            <a:endParaRPr lang="zh-CN" altLang="en-US" strike="noStrike" noProof="1"/>
          </a:p>
        </p:txBody>
      </p:sp>
      <p:sp>
        <p:nvSpPr>
          <p:cNvPr id="3" name="文本占位符 2"/>
          <p:cNvSpPr>
            <a:spLocks noGrp="1"/>
          </p:cNvSpPr>
          <p:nvPr>
            <p:ph type="body" idx="1" hasCustomPrompt="1"/>
          </p:nvPr>
        </p:nvSpPr>
        <p:spPr>
          <a:xfrm>
            <a:off x="1186774" y="1778438"/>
            <a:ext cx="4873574" cy="823912"/>
          </a:xfrm>
        </p:spPr>
        <p:txBody>
          <a:bodyPr anchor="ctr"/>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fontAlgn="base"/>
            <a:r>
              <a:rPr lang="zh-CN" altLang="en-US" strike="noStrike" noProof="1"/>
              <a:t>编辑母版文本样式</a:t>
            </a:r>
            <a:endParaRPr lang="zh-CN" altLang="en-US" strike="noStrike" noProof="1"/>
          </a:p>
        </p:txBody>
      </p:sp>
      <p:sp>
        <p:nvSpPr>
          <p:cNvPr id="4" name="内容占位符 3"/>
          <p:cNvSpPr>
            <a:spLocks noGrp="1"/>
          </p:cNvSpPr>
          <p:nvPr>
            <p:ph sz="half" idx="2" hasCustomPrompt="1"/>
          </p:nvPr>
        </p:nvSpPr>
        <p:spPr>
          <a:xfrm>
            <a:off x="1186774" y="2665379"/>
            <a:ext cx="4873574" cy="3524284"/>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5" name="文本占位符 4"/>
          <p:cNvSpPr>
            <a:spLocks noGrp="1"/>
          </p:cNvSpPr>
          <p:nvPr>
            <p:ph type="body" sz="quarter" idx="3" hasCustomPrompt="1"/>
          </p:nvPr>
        </p:nvSpPr>
        <p:spPr>
          <a:xfrm>
            <a:off x="6256938" y="1778438"/>
            <a:ext cx="4897576" cy="823912"/>
          </a:xfrm>
        </p:spPr>
        <p:txBody>
          <a:bodyPr anchor="ctr"/>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fontAlgn="base"/>
            <a:r>
              <a:rPr lang="zh-CN" altLang="en-US" strike="noStrike" noProof="1"/>
              <a:t>编辑母版文本样式</a:t>
            </a:r>
            <a:endParaRPr lang="zh-CN" altLang="en-US" strike="noStrike" noProof="1"/>
          </a:p>
        </p:txBody>
      </p:sp>
      <p:sp>
        <p:nvSpPr>
          <p:cNvPr id="6" name="内容占位符 5"/>
          <p:cNvSpPr>
            <a:spLocks noGrp="1"/>
          </p:cNvSpPr>
          <p:nvPr>
            <p:ph sz="quarter" idx="4" hasCustomPrompt="1"/>
          </p:nvPr>
        </p:nvSpPr>
        <p:spPr>
          <a:xfrm>
            <a:off x="6256938" y="2665379"/>
            <a:ext cx="4897576" cy="3524284"/>
          </a:xfrm>
        </p:spPr>
        <p:txBody>
          <a:bodyPr/>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7" name="日期占位符 6"/>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p:spPr>
        <p:txBody>
          <a:bodyPr/>
          <a:lstStyle>
            <a:lvl1pPr>
              <a:defRPr/>
            </a:lvl1pPr>
          </a:lstStyle>
          <a:p>
            <a:r>
              <a:rPr lang="zh-CN" altLang="en-US" noProof="1"/>
              <a:t>单击此处编辑母版标题样式</a:t>
            </a:r>
            <a:endParaRPr lang="zh-CN" altLang="en-US" noProof="1"/>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noProof="1"/>
              <a:t>单击此处编辑母版文本样式</a:t>
            </a:r>
            <a:endParaRPr lang="zh-CN" altLang="en-US" noProof="1"/>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5" name="文本占位符 4"/>
          <p:cNvSpPr>
            <a:spLocks noGrp="1"/>
          </p:cNvSpPr>
          <p:nvPr>
            <p:ph type="body" sz="quarter" idx="3"/>
          </p:nvPr>
        </p:nvSpPr>
        <p:spPr>
          <a:xfrm>
            <a:off x="6193372"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noProof="1"/>
              <a:t>单击此处编辑母版文本样式</a:t>
            </a:r>
            <a:endParaRPr lang="zh-CN" altLang="en-US" noProof="1"/>
          </a:p>
        </p:txBody>
      </p:sp>
      <p:sp>
        <p:nvSpPr>
          <p:cNvPr id="6" name="内容占位符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endParaRPr lang="zh-CN" altLang="en-US" noProof="1"/>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3" y="273050"/>
            <a:ext cx="4011084" cy="1162050"/>
          </a:xfrm>
        </p:spPr>
        <p:txBody>
          <a:bodyPr/>
          <a:lstStyle>
            <a:lvl1pPr algn="l">
              <a:defRPr sz="2000" b="1"/>
            </a:lvl1pPr>
          </a:lstStyle>
          <a:p>
            <a:r>
              <a:rPr lang="zh-CN" altLang="en-US" noProof="1"/>
              <a:t>单击此处编辑母版标题样式</a:t>
            </a:r>
            <a:endParaRPr lang="zh-CN" altLang="en-US" noProof="1"/>
          </a:p>
        </p:txBody>
      </p:sp>
      <p:sp>
        <p:nvSpPr>
          <p:cNvPr id="3" name="内容占位符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4" name="文本占位符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noProof="1"/>
              <a:t>单击此处编辑母版文本样式</a:t>
            </a:r>
            <a:endParaRPr lang="zh-CN" altLang="en-US" noProof="1"/>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lstStyle>
            <a:lvl1pPr algn="l">
              <a:defRPr sz="2000" b="1"/>
            </a:lvl1pPr>
          </a:lstStyle>
          <a:p>
            <a:r>
              <a:rPr lang="zh-CN" altLang="en-US" noProof="1"/>
              <a:t>单击此处编辑母版标题样式</a:t>
            </a:r>
            <a:endParaRPr lang="zh-CN" altLang="en-US" noProof="1"/>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endParaRPr lang="zh-CN" altLang="en-US" noProof="0"/>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noProof="1"/>
              <a:t>单击此处编辑母版文本样式</a:t>
            </a:r>
            <a:endParaRPr lang="zh-CN" altLang="en-US" noProof="1"/>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endParaRPr lang="zh-CN" altLang="en-US" noProof="1"/>
          </a:p>
        </p:txBody>
      </p:sp>
      <p:sp>
        <p:nvSpPr>
          <p:cNvPr id="3" name="竖排文字占位符 2"/>
          <p:cNvSpPr>
            <a:spLocks noGrp="1"/>
          </p:cNvSpPr>
          <p:nvPr>
            <p:ph type="body" orient="vert" idx="1"/>
          </p:nvPr>
        </p:nvSpPr>
        <p:spPr/>
        <p:txBody>
          <a:bodyPr vert="eaVert"/>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54533" y="44450"/>
            <a:ext cx="2794000" cy="6051550"/>
          </a:xfrm>
        </p:spPr>
        <p:txBody>
          <a:bodyPr vert="eaVert"/>
          <a:lstStyle/>
          <a:p>
            <a:r>
              <a:rPr lang="zh-CN" altLang="en-US" noProof="1"/>
              <a:t>单击此处编辑母版标题样式</a:t>
            </a:r>
            <a:endParaRPr lang="zh-CN" altLang="en-US" noProof="1"/>
          </a:p>
        </p:txBody>
      </p:sp>
      <p:sp>
        <p:nvSpPr>
          <p:cNvPr id="3" name="竖排文字占位符 2"/>
          <p:cNvSpPr>
            <a:spLocks noGrp="1"/>
          </p:cNvSpPr>
          <p:nvPr>
            <p:ph type="body" orient="vert" idx="1"/>
          </p:nvPr>
        </p:nvSpPr>
        <p:spPr>
          <a:xfrm>
            <a:off x="372533" y="44450"/>
            <a:ext cx="8178800" cy="6051550"/>
          </a:xfrm>
        </p:spPr>
        <p:txBody>
          <a:bodyPr vert="eaVert"/>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372533" y="44450"/>
            <a:ext cx="11176000" cy="1295400"/>
          </a:xfrm>
        </p:spPr>
        <p:txBody>
          <a:bodyPr/>
          <a:lstStyle/>
          <a:p>
            <a:r>
              <a:rPr lang="zh-CN" altLang="en-US" noProof="1"/>
              <a:t>单击此处编辑母版标题样式</a:t>
            </a:r>
            <a:endParaRPr lang="zh-CN" altLang="en-US" noProof="1"/>
          </a:p>
        </p:txBody>
      </p:sp>
      <p:sp>
        <p:nvSpPr>
          <p:cNvPr id="3" name="文本占位符 2"/>
          <p:cNvSpPr>
            <a:spLocks noGrp="1"/>
          </p:cNvSpPr>
          <p:nvPr>
            <p:ph type="body" sz="half" idx="1"/>
          </p:nvPr>
        </p:nvSpPr>
        <p:spPr>
          <a:xfrm>
            <a:off x="393700" y="1676400"/>
            <a:ext cx="5435600" cy="4419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4" name="内容占位符 3"/>
          <p:cNvSpPr>
            <a:spLocks noGrp="1"/>
          </p:cNvSpPr>
          <p:nvPr>
            <p:ph sz="half" idx="2"/>
          </p:nvPr>
        </p:nvSpPr>
        <p:spPr>
          <a:xfrm>
            <a:off x="6032500" y="1676400"/>
            <a:ext cx="5435600" cy="4419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372533" y="44450"/>
            <a:ext cx="11176000" cy="1295400"/>
          </a:xfrm>
        </p:spPr>
        <p:txBody>
          <a:bodyPr/>
          <a:lstStyle/>
          <a:p>
            <a:r>
              <a:rPr lang="zh-CN" altLang="en-US" noProof="1"/>
              <a:t>单击此处编辑母版标题样式</a:t>
            </a:r>
            <a:endParaRPr lang="zh-CN" altLang="en-US" noProof="1"/>
          </a:p>
        </p:txBody>
      </p:sp>
      <p:sp>
        <p:nvSpPr>
          <p:cNvPr id="3" name="表格占位符 2"/>
          <p:cNvSpPr>
            <a:spLocks noGrp="1"/>
          </p:cNvSpPr>
          <p:nvPr>
            <p:ph type="tbl" idx="1" hasCustomPrompt="1"/>
          </p:nvPr>
        </p:nvSpPr>
        <p:spPr>
          <a:xfrm>
            <a:off x="393700" y="1676400"/>
            <a:ext cx="11074400" cy="4419600"/>
          </a:xfrm>
        </p:spPr>
        <p:txBody>
          <a:bodyPr/>
          <a:lstStyle/>
          <a:p>
            <a:pPr lvl="0"/>
            <a:r>
              <a:rPr lang="zh-CN" altLang="en-US" noProof="0"/>
              <a:t>单击图标添加表格</a:t>
            </a:r>
            <a:endParaRPr lang="zh-CN" altLang="en-US" noProof="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OverTx" preserve="1">
  <p:cSld name="标题和内容在文本之上">
    <p:spTree>
      <p:nvGrpSpPr>
        <p:cNvPr id="1" name=""/>
        <p:cNvGrpSpPr/>
        <p:nvPr/>
      </p:nvGrpSpPr>
      <p:grpSpPr>
        <a:xfrm>
          <a:off x="0" y="0"/>
          <a:ext cx="0" cy="0"/>
          <a:chOff x="0" y="0"/>
          <a:chExt cx="0" cy="0"/>
        </a:xfrm>
      </p:grpSpPr>
      <p:sp>
        <p:nvSpPr>
          <p:cNvPr id="2" name="标题 1"/>
          <p:cNvSpPr>
            <a:spLocks noGrp="1"/>
          </p:cNvSpPr>
          <p:nvPr>
            <p:ph type="title"/>
          </p:nvPr>
        </p:nvSpPr>
        <p:spPr>
          <a:xfrm>
            <a:off x="372533" y="44450"/>
            <a:ext cx="11176000" cy="1295400"/>
          </a:xfrm>
        </p:spPr>
        <p:txBody>
          <a:bodyPr/>
          <a:lstStyle/>
          <a:p>
            <a:r>
              <a:rPr lang="zh-CN" altLang="en-US" noProof="1"/>
              <a:t>单击此处编辑母版标题样式</a:t>
            </a:r>
            <a:endParaRPr lang="zh-CN" altLang="en-US" noProof="1"/>
          </a:p>
        </p:txBody>
      </p:sp>
      <p:sp>
        <p:nvSpPr>
          <p:cNvPr id="3" name="内容占位符 2"/>
          <p:cNvSpPr>
            <a:spLocks noGrp="1"/>
          </p:cNvSpPr>
          <p:nvPr>
            <p:ph sz="half" idx="1"/>
          </p:nvPr>
        </p:nvSpPr>
        <p:spPr>
          <a:xfrm>
            <a:off x="393700" y="1676400"/>
            <a:ext cx="11074400" cy="2133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4" name="文本占位符 3"/>
          <p:cNvSpPr>
            <a:spLocks noGrp="1"/>
          </p:cNvSpPr>
          <p:nvPr>
            <p:ph type="body" sz="half" idx="2"/>
          </p:nvPr>
        </p:nvSpPr>
        <p:spPr>
          <a:xfrm>
            <a:off x="393700" y="3962400"/>
            <a:ext cx="11074400" cy="2133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日期占位符 2"/>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fourObj" preserve="1">
  <p:cSld name="标题和四项内容">
    <p:spTree>
      <p:nvGrpSpPr>
        <p:cNvPr id="1" name=""/>
        <p:cNvGrpSpPr/>
        <p:nvPr/>
      </p:nvGrpSpPr>
      <p:grpSpPr>
        <a:xfrm>
          <a:off x="0" y="0"/>
          <a:ext cx="0" cy="0"/>
          <a:chOff x="0" y="0"/>
          <a:chExt cx="0" cy="0"/>
        </a:xfrm>
      </p:grpSpPr>
      <p:sp>
        <p:nvSpPr>
          <p:cNvPr id="2" name="标题 1"/>
          <p:cNvSpPr>
            <a:spLocks noGrp="1"/>
          </p:cNvSpPr>
          <p:nvPr>
            <p:ph type="title" sz="quarter"/>
          </p:nvPr>
        </p:nvSpPr>
        <p:spPr>
          <a:xfrm>
            <a:off x="372533" y="44450"/>
            <a:ext cx="11176000" cy="1295400"/>
          </a:xfrm>
        </p:spPr>
        <p:txBody>
          <a:bodyPr/>
          <a:lstStyle/>
          <a:p>
            <a:r>
              <a:rPr lang="zh-CN" altLang="en-US" noProof="1"/>
              <a:t>单击此处编辑母版标题样式</a:t>
            </a:r>
            <a:endParaRPr lang="zh-CN" altLang="en-US" noProof="1"/>
          </a:p>
        </p:txBody>
      </p:sp>
      <p:sp>
        <p:nvSpPr>
          <p:cNvPr id="3" name="内容占位符 2"/>
          <p:cNvSpPr>
            <a:spLocks noGrp="1"/>
          </p:cNvSpPr>
          <p:nvPr>
            <p:ph sz="quarter" idx="1"/>
          </p:nvPr>
        </p:nvSpPr>
        <p:spPr>
          <a:xfrm>
            <a:off x="393700" y="1676400"/>
            <a:ext cx="5435600" cy="2133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4" name="内容占位符 3"/>
          <p:cNvSpPr>
            <a:spLocks noGrp="1"/>
          </p:cNvSpPr>
          <p:nvPr>
            <p:ph sz="quarter" idx="2"/>
          </p:nvPr>
        </p:nvSpPr>
        <p:spPr>
          <a:xfrm>
            <a:off x="6032500" y="1676400"/>
            <a:ext cx="5435600" cy="2133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5" name="内容占位符 4"/>
          <p:cNvSpPr>
            <a:spLocks noGrp="1"/>
          </p:cNvSpPr>
          <p:nvPr>
            <p:ph sz="quarter" idx="3"/>
          </p:nvPr>
        </p:nvSpPr>
        <p:spPr>
          <a:xfrm>
            <a:off x="393700" y="3962400"/>
            <a:ext cx="5435600" cy="2133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6" name="内容占位符 5"/>
          <p:cNvSpPr>
            <a:spLocks noGrp="1"/>
          </p:cNvSpPr>
          <p:nvPr>
            <p:ph sz="quarter" idx="4"/>
          </p:nvPr>
        </p:nvSpPr>
        <p:spPr>
          <a:xfrm>
            <a:off x="6032500" y="3962400"/>
            <a:ext cx="5435600" cy="2133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xOverObj" preserve="1">
  <p:cSld name="标题和文本在内容之上">
    <p:spTree>
      <p:nvGrpSpPr>
        <p:cNvPr id="1" name=""/>
        <p:cNvGrpSpPr/>
        <p:nvPr/>
      </p:nvGrpSpPr>
      <p:grpSpPr>
        <a:xfrm>
          <a:off x="0" y="0"/>
          <a:ext cx="0" cy="0"/>
          <a:chOff x="0" y="0"/>
          <a:chExt cx="0" cy="0"/>
        </a:xfrm>
      </p:grpSpPr>
      <p:sp>
        <p:nvSpPr>
          <p:cNvPr id="2" name="标题 1"/>
          <p:cNvSpPr>
            <a:spLocks noGrp="1"/>
          </p:cNvSpPr>
          <p:nvPr>
            <p:ph type="title"/>
          </p:nvPr>
        </p:nvSpPr>
        <p:spPr>
          <a:xfrm>
            <a:off x="372533" y="44450"/>
            <a:ext cx="11176000" cy="1295400"/>
          </a:xfrm>
        </p:spPr>
        <p:txBody>
          <a:bodyPr/>
          <a:lstStyle/>
          <a:p>
            <a:r>
              <a:rPr lang="zh-CN" altLang="en-US" noProof="1"/>
              <a:t>单击此处编辑母版标题样式</a:t>
            </a:r>
            <a:endParaRPr lang="zh-CN" altLang="en-US" noProof="1"/>
          </a:p>
        </p:txBody>
      </p:sp>
      <p:sp>
        <p:nvSpPr>
          <p:cNvPr id="3" name="文本占位符 2"/>
          <p:cNvSpPr>
            <a:spLocks noGrp="1"/>
          </p:cNvSpPr>
          <p:nvPr>
            <p:ph type="body" sz="half" idx="1"/>
          </p:nvPr>
        </p:nvSpPr>
        <p:spPr>
          <a:xfrm>
            <a:off x="393700" y="1676400"/>
            <a:ext cx="11074400" cy="2133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4" name="内容占位符 3"/>
          <p:cNvSpPr>
            <a:spLocks noGrp="1"/>
          </p:cNvSpPr>
          <p:nvPr>
            <p:ph sz="half" idx="2"/>
          </p:nvPr>
        </p:nvSpPr>
        <p:spPr>
          <a:xfrm>
            <a:off x="393700" y="3962400"/>
            <a:ext cx="11074400" cy="2133600"/>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1048587" name="标题 1"/>
          <p:cNvSpPr>
            <a:spLocks noGrp="1"/>
          </p:cNvSpPr>
          <p:nvPr>
            <p:ph type="title"/>
          </p:nvPr>
        </p:nvSpPr>
        <p:spPr/>
        <p:txBody>
          <a:bodyPr/>
          <a:lstStyle/>
          <a:p>
            <a:r>
              <a:rPr lang="zh-CN" altLang="en-US"/>
              <a:t>单击此处编辑母版标题样式</a:t>
            </a:r>
            <a:endParaRPr lang="zh-CN" altLang="en-US"/>
          </a:p>
        </p:txBody>
      </p:sp>
      <p:sp>
        <p:nvSpPr>
          <p:cNvPr id="1048588"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1048589" name="日期占位符 3"/>
          <p:cNvSpPr>
            <a:spLocks noGrp="1"/>
          </p:cNvSpPr>
          <p:nvPr>
            <p:ph type="dt" sz="half" idx="10"/>
          </p:nvPr>
        </p:nvSpPr>
        <p:spPr>
          <a:xfrm>
            <a:off x="838200" y="6356350"/>
            <a:ext cx="2743200" cy="365125"/>
          </a:xfrm>
          <a:prstGeom prst="rect">
            <a:avLst/>
          </a:prstGeom>
        </p:spPr>
        <p:txBody>
          <a:bodyPr/>
          <a:lstStyle/>
          <a:p>
            <a:fld id="{C4472B31-BF2E-4774-B013-B983A6B6A940}" type="datetimeFigureOut">
              <a:rPr lang="zh-CN" altLang="en-US" smtClean="0"/>
            </a:fld>
            <a:endParaRPr lang="zh-CN" altLang="en-US"/>
          </a:p>
        </p:txBody>
      </p:sp>
      <p:sp>
        <p:nvSpPr>
          <p:cNvPr id="1048590"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1048591" name="灯片编号占位符 5"/>
          <p:cNvSpPr>
            <a:spLocks noGrp="1"/>
          </p:cNvSpPr>
          <p:nvPr>
            <p:ph type="sldNum" sz="quarter" idx="12"/>
          </p:nvPr>
        </p:nvSpPr>
        <p:spPr>
          <a:xfrm>
            <a:off x="8610600" y="6356350"/>
            <a:ext cx="2743200" cy="365125"/>
          </a:xfrm>
          <a:prstGeom prst="rect">
            <a:avLst/>
          </a:prstGeom>
        </p:spPr>
        <p:txBody>
          <a:bodyPr/>
          <a:lstStyle/>
          <a:p>
            <a:fld id="{ACE6CCD7-DE90-4F0F-A9F0-FFEC15CA3688}" type="slidenum">
              <a:rPr lang="zh-CN" altLang="en-US" smtClean="0"/>
            </a:fld>
            <a:endParaRPr lang="zh-CN" altLang="en-US"/>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14" name="平行四边形 13"/>
          <p:cNvSpPr/>
          <p:nvPr/>
        </p:nvSpPr>
        <p:spPr>
          <a:xfrm>
            <a:off x="8976320" y="6099408"/>
            <a:ext cx="3119669" cy="648072"/>
          </a:xfrm>
          <a:prstGeom prst="parallelogram">
            <a:avLst/>
          </a:prstGeom>
          <a:solidFill>
            <a:srgbClr val="7C233E"/>
          </a:solidFill>
          <a:ln>
            <a:solidFill>
              <a:srgbClr val="7C233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3" name="Content Placeholder 2"/>
          <p:cNvSpPr>
            <a:spLocks noGrp="1"/>
          </p:cNvSpPr>
          <p:nvPr>
            <p:ph idx="1"/>
          </p:nvPr>
        </p:nvSpPr>
        <p:spPr>
          <a:xfrm>
            <a:off x="838200" y="1268761"/>
            <a:ext cx="10515600" cy="4908203"/>
          </a:xfrm>
        </p:spPr>
        <p:txBody>
          <a:bodyPr vert="horz" lIns="91440" tIns="45720" rIns="91440" bIns="45720" rtlCol="0">
            <a:normAutofit/>
          </a:bodyPr>
          <a:lstStyle>
            <a:lvl1pPr>
              <a:defRPr lang="zh-CN" altLang="en-US" sz="1800" dirty="0" smtClean="0"/>
            </a:lvl1pPr>
            <a:lvl2pPr>
              <a:defRPr lang="zh-CN" altLang="en-US" sz="1600" dirty="0" smtClean="0"/>
            </a:lvl2pPr>
            <a:lvl3pPr>
              <a:defRPr lang="zh-CN" altLang="en-US" sz="1400" dirty="0" smtClean="0"/>
            </a:lvl3pPr>
            <a:lvl4pPr>
              <a:defRPr lang="zh-CN" altLang="en-US" sz="1200" dirty="0" smtClean="0"/>
            </a:lvl4pPr>
            <a:lvl5pPr>
              <a:defRPr lang="en-US" sz="1200" dirty="0"/>
            </a:lvl5pPr>
          </a:lstStyle>
          <a:p>
            <a:pPr lvl="0">
              <a:lnSpc>
                <a:spcPct val="120000"/>
              </a:lnSpc>
              <a:spcBef>
                <a:spcPts val="600"/>
              </a:spcBef>
            </a:pPr>
            <a:r>
              <a:rPr lang="zh-CN" altLang="en-US"/>
              <a:t>单击此处编辑母版文本样式</a:t>
            </a:r>
            <a:endParaRPr lang="zh-CN" altLang="en-US"/>
          </a:p>
          <a:p>
            <a:pPr lvl="1">
              <a:lnSpc>
                <a:spcPct val="120000"/>
              </a:lnSpc>
              <a:spcBef>
                <a:spcPts val="600"/>
              </a:spcBef>
            </a:pPr>
            <a:r>
              <a:rPr lang="zh-CN" altLang="en-US"/>
              <a:t>第二级</a:t>
            </a:r>
            <a:endParaRPr lang="zh-CN" altLang="en-US"/>
          </a:p>
          <a:p>
            <a:pPr lvl="2">
              <a:lnSpc>
                <a:spcPct val="120000"/>
              </a:lnSpc>
              <a:spcBef>
                <a:spcPts val="600"/>
              </a:spcBef>
            </a:pPr>
            <a:r>
              <a:rPr lang="zh-CN" altLang="en-US"/>
              <a:t>第三级</a:t>
            </a:r>
            <a:endParaRPr lang="zh-CN" altLang="en-US"/>
          </a:p>
          <a:p>
            <a:pPr lvl="3">
              <a:lnSpc>
                <a:spcPct val="120000"/>
              </a:lnSpc>
              <a:spcBef>
                <a:spcPts val="600"/>
              </a:spcBef>
            </a:pPr>
            <a:r>
              <a:rPr lang="zh-CN" altLang="en-US"/>
              <a:t>第四级</a:t>
            </a:r>
            <a:endParaRPr lang="zh-CN" altLang="en-US"/>
          </a:p>
          <a:p>
            <a:pPr lvl="4">
              <a:lnSpc>
                <a:spcPct val="120000"/>
              </a:lnSpc>
              <a:spcBef>
                <a:spcPts val="600"/>
              </a:spcBef>
            </a:pPr>
            <a:r>
              <a:rPr lang="zh-CN" altLang="en-US"/>
              <a:t>第五级</a:t>
            </a:r>
            <a:endParaRPr lang="en-US" dirty="0"/>
          </a:p>
        </p:txBody>
      </p:sp>
      <p:sp>
        <p:nvSpPr>
          <p:cNvPr id="4" name="Date Placeholder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9113755" y="5393112"/>
            <a:ext cx="2844800" cy="365125"/>
          </a:xfrm>
        </p:spPr>
        <p:txBody>
          <a:bodyPr/>
          <a:lstStyle/>
          <a:p>
            <a:fld id="{0C913308-F349-4B6D-A68A-DD1791B4A57B}" type="slidenum">
              <a:rPr lang="zh-CN" altLang="en-US" smtClean="0"/>
            </a:fld>
            <a:endParaRPr lang="zh-CN" altLang="en-US"/>
          </a:p>
        </p:txBody>
      </p:sp>
      <p:sp>
        <p:nvSpPr>
          <p:cNvPr id="13" name="平行四边形 12"/>
          <p:cNvSpPr/>
          <p:nvPr/>
        </p:nvSpPr>
        <p:spPr>
          <a:xfrm>
            <a:off x="239349" y="6432412"/>
            <a:ext cx="8640960" cy="315068"/>
          </a:xfrm>
          <a:prstGeom prst="parallelogram">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grpSp>
        <p:nvGrpSpPr>
          <p:cNvPr id="7" name="组合 14"/>
          <p:cNvGrpSpPr/>
          <p:nvPr/>
        </p:nvGrpSpPr>
        <p:grpSpPr>
          <a:xfrm>
            <a:off x="239349" y="275722"/>
            <a:ext cx="11809312" cy="648072"/>
            <a:chOff x="179512" y="548680"/>
            <a:chExt cx="8856984" cy="648072"/>
          </a:xfrm>
        </p:grpSpPr>
        <p:sp>
          <p:nvSpPr>
            <p:cNvPr id="16" name="平行四边形 15"/>
            <p:cNvSpPr/>
            <p:nvPr/>
          </p:nvSpPr>
          <p:spPr>
            <a:xfrm>
              <a:off x="179512" y="548680"/>
              <a:ext cx="648072" cy="648072"/>
            </a:xfrm>
            <a:prstGeom prst="parallelogram">
              <a:avLst/>
            </a:prstGeom>
            <a:solidFill>
              <a:srgbClr val="7C233E"/>
            </a:solidFill>
            <a:ln>
              <a:solidFill>
                <a:srgbClr val="7C233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17" name="平行四边形 16"/>
            <p:cNvSpPr/>
            <p:nvPr/>
          </p:nvSpPr>
          <p:spPr>
            <a:xfrm>
              <a:off x="827584" y="548680"/>
              <a:ext cx="8208912" cy="648072"/>
            </a:xfrm>
            <a:prstGeom prst="parallelogram">
              <a:avLst/>
            </a:prstGeom>
            <a:solidFill>
              <a:schemeClr val="bg1">
                <a:lumMod val="9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grpSp>
      <p:sp>
        <p:nvSpPr>
          <p:cNvPr id="2" name="Title 1"/>
          <p:cNvSpPr>
            <a:spLocks noGrp="1"/>
          </p:cNvSpPr>
          <p:nvPr>
            <p:ph type="title"/>
          </p:nvPr>
        </p:nvSpPr>
        <p:spPr>
          <a:xfrm>
            <a:off x="2590933" y="-603448"/>
            <a:ext cx="9601067" cy="341194"/>
          </a:xfrm>
        </p:spPr>
        <p:txBody>
          <a:bodyPr vert="horz" lIns="91440" tIns="45720" rIns="91440" bIns="45720" rtlCol="0" anchor="ctr">
            <a:noAutofit/>
          </a:bodyPr>
          <a:lstStyle>
            <a:lvl1pPr>
              <a:defRPr lang="en-US" sz="2400" b="1" dirty="0">
                <a:latin typeface="+mn-lt"/>
                <a:ea typeface="+mn-ea"/>
                <a:cs typeface="+mn-cs"/>
              </a:defRPr>
            </a:lvl1pPr>
          </a:lstStyle>
          <a:p>
            <a:pPr marL="0" lvl="0" defTabSz="457200"/>
            <a:r>
              <a:rPr lang="zh-CN" altLang="en-US"/>
              <a:t>单击此处编辑母版标题样式</a:t>
            </a:r>
            <a:endParaRPr lang="en-US" dirty="0"/>
          </a:p>
        </p:txBody>
      </p:sp>
      <p:sp>
        <p:nvSpPr>
          <p:cNvPr id="12" name="Content Placeholder 2"/>
          <p:cNvSpPr>
            <a:spLocks noGrp="1"/>
          </p:cNvSpPr>
          <p:nvPr>
            <p:ph idx="13"/>
          </p:nvPr>
        </p:nvSpPr>
        <p:spPr>
          <a:xfrm>
            <a:off x="481787" y="5445224"/>
            <a:ext cx="8352928" cy="336680"/>
          </a:xfrm>
        </p:spPr>
        <p:txBody>
          <a:bodyPr vert="horz" lIns="91440" tIns="0" rIns="91440" bIns="0" rtlCol="0" anchor="ctr">
            <a:normAutofit/>
          </a:bodyPr>
          <a:lstStyle>
            <a:lvl1pPr marL="0" indent="0">
              <a:lnSpc>
                <a:spcPct val="100000"/>
              </a:lnSpc>
              <a:spcBef>
                <a:spcPts val="0"/>
              </a:spcBef>
              <a:buNone/>
              <a:defRPr lang="zh-CN" altLang="en-US" sz="1100" dirty="0" smtClean="0"/>
            </a:lvl1pPr>
            <a:lvl2pPr>
              <a:defRPr lang="zh-CN" altLang="en-US" sz="1600" dirty="0" smtClean="0"/>
            </a:lvl2pPr>
            <a:lvl3pPr>
              <a:defRPr lang="zh-CN" altLang="en-US" sz="1400" dirty="0" smtClean="0"/>
            </a:lvl3pPr>
            <a:lvl4pPr>
              <a:defRPr lang="zh-CN" altLang="en-US" sz="1200" dirty="0" smtClean="0"/>
            </a:lvl4pPr>
            <a:lvl5pPr>
              <a:defRPr lang="en-US" sz="1200" dirty="0"/>
            </a:lvl5pPr>
          </a:lstStyle>
          <a:p>
            <a:pPr lvl="0">
              <a:lnSpc>
                <a:spcPct val="120000"/>
              </a:lnSpc>
              <a:spcBef>
                <a:spcPts val="600"/>
              </a:spcBef>
            </a:pPr>
            <a:r>
              <a:rPr lang="zh-CN" altLang="en-US"/>
              <a:t>单击此处编辑母版文本样式</a:t>
            </a:r>
            <a:endParaRPr lang="zh-CN" alt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zh-CN" altLang="en-US"/>
              <a:t>单击此处编辑母版标题样式</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2032000" y="20472"/>
            <a:ext cx="10972800" cy="1143000"/>
          </a:xfrm>
        </p:spPr>
        <p:txBody>
          <a:bodyPr>
            <a:normAutofit/>
          </a:bodyPr>
          <a:lstStyle>
            <a:lvl1pPr algn="l">
              <a:defRPr sz="3400" b="1">
                <a:latin typeface="微软雅黑" panose="020B0503020204020204" charset="-122"/>
                <a:ea typeface="微软雅黑" panose="020B0503020204020204" charset="-122"/>
              </a:defRPr>
            </a:lvl1pPr>
          </a:lstStyle>
          <a:p>
            <a:r>
              <a:rPr lang="zh-CN" altLang="en-US"/>
              <a:t>单击此处编辑母版标题样式</a:t>
            </a:r>
            <a:endParaRPr lang="en-US" dirty="0"/>
          </a:p>
        </p:txBody>
      </p:sp>
      <p:sp>
        <p:nvSpPr>
          <p:cNvPr id="3" name="Content Placeholder 2"/>
          <p:cNvSpPr>
            <a:spLocks noGrp="1"/>
          </p:cNvSpPr>
          <p:nvPr>
            <p:ph idx="1"/>
          </p:nvPr>
        </p:nvSpPr>
        <p:spPr>
          <a:xfrm>
            <a:off x="719403" y="1340769"/>
            <a:ext cx="10972800" cy="4525963"/>
          </a:xfrm>
        </p:spPr>
        <p:txBody>
          <a:bodyPr/>
          <a:lstStyle>
            <a:lvl1pPr>
              <a:defRPr sz="2400">
                <a:latin typeface="黑体" panose="02010609060101010101" pitchFamily="49" charset="-122"/>
                <a:ea typeface="黑体" panose="02010609060101010101" pitchFamily="49" charset="-122"/>
              </a:defRPr>
            </a:lvl1pPr>
            <a:lvl2pPr>
              <a:defRPr sz="2000">
                <a:latin typeface="黑体" panose="02010609060101010101" pitchFamily="49" charset="-122"/>
                <a:ea typeface="黑体" panose="02010609060101010101" pitchFamily="49" charset="-122"/>
              </a:defRPr>
            </a:lvl2pPr>
            <a:lvl3pPr>
              <a:defRPr sz="1800">
                <a:latin typeface="黑体" panose="02010609060101010101" pitchFamily="49" charset="-122"/>
                <a:ea typeface="黑体" panose="02010609060101010101" pitchFamily="49" charset="-122"/>
              </a:defRPr>
            </a:lvl3pPr>
            <a:lvl4pPr>
              <a:defRPr sz="1600">
                <a:latin typeface="黑体" panose="02010609060101010101" pitchFamily="49" charset="-122"/>
                <a:ea typeface="黑体" panose="02010609060101010101" pitchFamily="49" charset="-122"/>
              </a:defRPr>
            </a:lvl4pPr>
            <a:lvl5pPr>
              <a:defRPr>
                <a:latin typeface="黑体" panose="02010609060101010101" pitchFamily="49" charset="-122"/>
                <a:ea typeface="黑体" panose="02010609060101010101" pitchFamily="49" charset="-122"/>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C913308-F349-4B6D-A68A-DD1791B4A57B}" type="slidenum">
              <a:rPr lang="zh-CN" altLang="en-US" smtClean="0"/>
            </a:fld>
            <a:endParaRPr lang="zh-CN" altLang="en-US"/>
          </a:p>
        </p:txBody>
      </p:sp>
      <p:pic>
        <p:nvPicPr>
          <p:cNvPr id="12" name="图片 11"/>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9168341" y="6237312"/>
            <a:ext cx="2784795" cy="412750"/>
          </a:xfrm>
          <a:prstGeom prst="rect">
            <a:avLst/>
          </a:prstGeom>
        </p:spPr>
      </p:pic>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zh-CN" altLang="en-US"/>
              <a:t>单击此处编辑母版标题样式</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endParaRPr lang="zh-CN" altLang="en-US"/>
          </a:p>
        </p:txBody>
      </p:sp>
      <p:sp>
        <p:nvSpPr>
          <p:cNvPr id="4" name="Date Placeholder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5" name="Date Placeholder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C913308-F349-4B6D-A68A-DD1791B4A57B}" type="slidenum">
              <a:rPr lang="zh-CN" altLang="en-US" smtClean="0"/>
            </a:fld>
            <a:endParaRPr lang="zh-CN" altLang="en-US"/>
          </a:p>
        </p:txBody>
      </p:sp>
      <p:pic>
        <p:nvPicPr>
          <p:cNvPr id="8" name="图片 7"/>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9168341" y="6237312"/>
            <a:ext cx="2784795" cy="412750"/>
          </a:xfrm>
          <a:prstGeom prst="rect">
            <a:avLst/>
          </a:prstGeom>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a:t>单击此处编辑母版标题样式</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7" name="Date Placeholder 6"/>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Date Placeholder 2"/>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zh-CN" altLang="en-US"/>
              <a:t>单击此处编辑母版标题样式</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Date Placeholder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zh-CN" altLang="en-US"/>
              <a:t>单击此处编辑母版标题样式</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Date Placeholder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4" name="Date Placeholder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zh-CN" altLang="en-US"/>
              <a:t>单击此处编辑母版标题样式</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4" name="Date Placeholder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content, footnotes">
    <p:spTree>
      <p:nvGrpSpPr>
        <p:cNvPr id="1" name=""/>
        <p:cNvGrpSpPr/>
        <p:nvPr/>
      </p:nvGrpSpPr>
      <p:grpSpPr>
        <a:xfrm>
          <a:off x="0" y="0"/>
          <a:ext cx="0" cy="0"/>
          <a:chOff x="0" y="0"/>
          <a:chExt cx="0" cy="0"/>
        </a:xfrm>
      </p:grpSpPr>
      <p:sp>
        <p:nvSpPr>
          <p:cNvPr id="5" name="Rectangle 9"/>
          <p:cNvSpPr/>
          <p:nvPr/>
        </p:nvSpPr>
        <p:spPr>
          <a:xfrm>
            <a:off x="0" y="1062039"/>
            <a:ext cx="12168717" cy="58324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anchor="ctr"/>
          <a:lstStyle>
            <a:lvl1pPr>
              <a:defRPr sz="2400">
                <a:solidFill>
                  <a:schemeClr val="tx1"/>
                </a:solidFill>
                <a:latin typeface="Times New Roman" panose="02020603050405020304" pitchFamily="18" charset="0"/>
                <a:ea typeface="宋体" panose="02010600030101010101" pitchFamily="2" charset="-122"/>
              </a:defRPr>
            </a:lvl1pPr>
            <a:lvl2pPr>
              <a:defRPr sz="2400">
                <a:solidFill>
                  <a:schemeClr val="tx1"/>
                </a:solidFill>
                <a:latin typeface="Times New Roman" panose="02020603050405020304" pitchFamily="18" charset="0"/>
                <a:ea typeface="宋体" panose="02010600030101010101" pitchFamily="2" charset="-122"/>
              </a:defRPr>
            </a:lvl2pPr>
            <a:lvl3pPr>
              <a:defRPr sz="2400">
                <a:solidFill>
                  <a:schemeClr val="tx1"/>
                </a:solidFill>
                <a:latin typeface="Times New Roman" panose="02020603050405020304" pitchFamily="18" charset="0"/>
                <a:ea typeface="宋体" panose="02010600030101010101" pitchFamily="2" charset="-122"/>
              </a:defRPr>
            </a:lvl3pPr>
            <a:lvl4pPr>
              <a:defRPr sz="2400">
                <a:solidFill>
                  <a:schemeClr val="tx1"/>
                </a:solidFill>
                <a:latin typeface="Times New Roman" panose="02020603050405020304" pitchFamily="18" charset="0"/>
                <a:ea typeface="宋体" panose="02010600030101010101" pitchFamily="2" charset="-122"/>
              </a:defRPr>
            </a:lvl4pPr>
            <a:lvl5pPr>
              <a:defRPr sz="2400">
                <a:solidFill>
                  <a:schemeClr val="tx1"/>
                </a:solidFill>
                <a:latin typeface="Times New Roman" panose="02020603050405020304" pitchFamily="18"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imes New Roman" panose="02020603050405020304" pitchFamily="18"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imes New Roman" panose="02020603050405020304" pitchFamily="18"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imes New Roman" panose="02020603050405020304" pitchFamily="18"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imes New Roman" panose="02020603050405020304" pitchFamily="18" charset="0"/>
                <a:ea typeface="宋体" panose="02010600030101010101" pitchFamily="2" charset="-122"/>
              </a:defRPr>
            </a:lvl9pPr>
          </a:lstStyle>
          <a:p>
            <a:pPr algn="ctr"/>
            <a:endParaRPr lang="en-GB" altLang="en-US" sz="1800">
              <a:solidFill>
                <a:srgbClr val="FFFFFF"/>
              </a:solidFill>
              <a:latin typeface="Calibri" panose="020F0502020204030204" pitchFamily="34" charset="0"/>
            </a:endParaRPr>
          </a:p>
        </p:txBody>
      </p:sp>
      <p:cxnSp>
        <p:nvCxnSpPr>
          <p:cNvPr id="6" name="Straight Connector 3"/>
          <p:cNvCxnSpPr/>
          <p:nvPr/>
        </p:nvCxnSpPr>
        <p:spPr>
          <a:xfrm>
            <a:off x="0" y="1050925"/>
            <a:ext cx="12192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Text Placeholder 10"/>
          <p:cNvSpPr>
            <a:spLocks noGrp="1"/>
          </p:cNvSpPr>
          <p:nvPr>
            <p:ph type="body" sz="quarter" idx="14"/>
          </p:nvPr>
        </p:nvSpPr>
        <p:spPr>
          <a:xfrm>
            <a:off x="431371" y="6271712"/>
            <a:ext cx="11304000" cy="504825"/>
          </a:xfrm>
        </p:spPr>
        <p:txBody>
          <a:bodyPr lIns="0" anchor="b">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zh-CN" altLang="en-US" noProof="1"/>
              <a:t>单击此处编辑母版文本样式</a:t>
            </a:r>
            <a:endParaRPr lang="zh-CN" altLang="en-US" noProof="1"/>
          </a:p>
        </p:txBody>
      </p:sp>
      <p:sp>
        <p:nvSpPr>
          <p:cNvPr id="7" name="Title 1"/>
          <p:cNvSpPr>
            <a:spLocks noGrp="1"/>
          </p:cNvSpPr>
          <p:nvPr>
            <p:ph type="title"/>
          </p:nvPr>
        </p:nvSpPr>
        <p:spPr>
          <a:xfrm>
            <a:off x="431371" y="188641"/>
            <a:ext cx="11304000" cy="720080"/>
          </a:xfrm>
        </p:spPr>
        <p:txBody>
          <a:bodyPr lIns="0" anchor="b">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zh-CN" altLang="en-US" noProof="1"/>
              <a:t>单击此处编辑母版标题样式</a:t>
            </a:r>
            <a:endParaRPr lang="en-GB" noProof="1"/>
          </a:p>
        </p:txBody>
      </p:sp>
      <p:sp>
        <p:nvSpPr>
          <p:cNvPr id="3" name="Text Placeholder 2"/>
          <p:cNvSpPr>
            <a:spLocks noGrp="1"/>
          </p:cNvSpPr>
          <p:nvPr>
            <p:ph type="body" sz="quarter" idx="15"/>
          </p:nvPr>
        </p:nvSpPr>
        <p:spPr>
          <a:xfrm>
            <a:off x="431800" y="1271377"/>
            <a:ext cx="11304000" cy="4751387"/>
          </a:xfrm>
        </p:spPr>
        <p:txBody>
          <a:bodyPr lIns="0"/>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zh-CN" altLang="en-US" noProof="1"/>
              <a:t>单击此处编辑母版文本样式</a:t>
            </a:r>
            <a:endParaRPr lang="zh-CN" altLang="en-US" noProof="1"/>
          </a:p>
          <a:p>
            <a:pPr lvl="1"/>
            <a:r>
              <a:rPr lang="zh-CN" altLang="en-US" noProof="1"/>
              <a:t>第二级</a:t>
            </a:r>
            <a:endParaRPr lang="zh-CN" altLang="en-US" noProof="1"/>
          </a:p>
        </p:txBody>
      </p:sp>
      <p:sp>
        <p:nvSpPr>
          <p:cNvPr id="8" name="日期占位符 3"/>
          <p:cNvSpPr>
            <a:spLocks noGrp="1"/>
          </p:cNvSpPr>
          <p:nvPr>
            <p:ph type="dt" sz="half" idx="16"/>
          </p:nvPr>
        </p:nvSpPr>
        <p:spPr/>
        <p:txBody>
          <a:bodyPr/>
          <a:lstStyle>
            <a:lvl1pPr>
              <a:defRPr/>
            </a:lvl1pPr>
          </a:lstStyle>
          <a:p>
            <a:fld id="{530820CF-B880-4189-942D-D702A7CBA730}" type="datetimeFigureOut">
              <a:rPr lang="zh-CN" altLang="en-US" smtClean="0"/>
            </a:fld>
            <a:endParaRPr lang="zh-CN" altLang="en-US"/>
          </a:p>
        </p:txBody>
      </p:sp>
      <p:sp>
        <p:nvSpPr>
          <p:cNvPr id="10" name="页脚占位符 4"/>
          <p:cNvSpPr>
            <a:spLocks noGrp="1"/>
          </p:cNvSpPr>
          <p:nvPr>
            <p:ph type="ftr" sz="quarter" idx="17"/>
          </p:nvPr>
        </p:nvSpPr>
        <p:spPr/>
        <p:txBody>
          <a:bodyPr/>
          <a:lstStyle>
            <a:lvl1pPr>
              <a:defRPr/>
            </a:lvl1pPr>
          </a:lstStyle>
          <a:p>
            <a:endParaRPr lang="zh-CN" altLang="en-US"/>
          </a:p>
        </p:txBody>
      </p:sp>
      <p:sp>
        <p:nvSpPr>
          <p:cNvPr id="11" name="灯片编号占位符 5"/>
          <p:cNvSpPr>
            <a:spLocks noGrp="1"/>
          </p:cNvSpPr>
          <p:nvPr>
            <p:ph type="sldNum" sz="quarter" idx="18"/>
          </p:nvPr>
        </p:nvSpPr>
        <p:spPr/>
        <p:txBody>
          <a:bodyPr/>
          <a:lstStyle>
            <a:lvl1pPr>
              <a:defRPr/>
            </a:lvl1pPr>
          </a:lstStyle>
          <a:p>
            <a:fld id="{0C913308-F349-4B6D-A68A-DD1791B4A57B}" type="slidenum">
              <a:rPr lang="zh-CN" altLang="en-US" smtClean="0"/>
            </a:fld>
            <a:endParaRPr lang="zh-CN" altLang="en-US"/>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2385484" y="606425"/>
            <a:ext cx="9582149" cy="382588"/>
          </a:xfrm>
        </p:spPr>
        <p:txBody>
          <a:bodyPr/>
          <a:lstStyle/>
          <a:p>
            <a:r>
              <a:rPr lang="zh-CN" altLang="en-US" noProof="1"/>
              <a:t>单击此处编辑母版标题样式</a:t>
            </a:r>
            <a:endParaRPr lang="zh-CN" altLang="en-US" noProof="1"/>
          </a:p>
        </p:txBody>
      </p:sp>
      <p:sp>
        <p:nvSpPr>
          <p:cNvPr id="3" name="文本占位符 2"/>
          <p:cNvSpPr>
            <a:spLocks noGrp="1"/>
          </p:cNvSpPr>
          <p:nvPr>
            <p:ph type="body" sz="half" idx="1"/>
          </p:nvPr>
        </p:nvSpPr>
        <p:spPr>
          <a:xfrm>
            <a:off x="493185" y="1522414"/>
            <a:ext cx="5575300" cy="4537075"/>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
        <p:nvSpPr>
          <p:cNvPr id="4" name="内容占位符 3"/>
          <p:cNvSpPr>
            <a:spLocks noGrp="1"/>
          </p:cNvSpPr>
          <p:nvPr>
            <p:ph sz="half" idx="2"/>
          </p:nvPr>
        </p:nvSpPr>
        <p:spPr>
          <a:xfrm>
            <a:off x="6271684" y="1522414"/>
            <a:ext cx="5577416" cy="4537075"/>
          </a:xfrm>
        </p:spPr>
        <p:txBody>
          <a:body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zh-CN" altLang="en-US" noProof="1"/>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3" y="294811"/>
            <a:ext cx="10102852" cy="430887"/>
          </a:xfrm>
        </p:spPr>
        <p:txBody>
          <a:bodyPr/>
          <a:lstStyle>
            <a:lvl1pPr>
              <a:defRPr sz="2800" baseline="0">
                <a:latin typeface="Arial" panose="020B0604020202020204" pitchFamily="34" charset="0"/>
                <a:ea typeface="微软雅黑" panose="020B0503020204020204" charset="-122"/>
              </a:defRPr>
            </a:lvl1pPr>
          </a:lstStyle>
          <a:p>
            <a:r>
              <a:rPr lang="zh-CN" altLang="en-US" noProof="1"/>
              <a:t>单击此处编辑母版标题样式</a:t>
            </a:r>
            <a:endParaRPr lang="en-GB" noProof="1"/>
          </a:p>
        </p:txBody>
      </p:sp>
      <p:sp>
        <p:nvSpPr>
          <p:cNvPr id="16" name="Content Placeholder 15"/>
          <p:cNvSpPr>
            <a:spLocks noGrp="1"/>
          </p:cNvSpPr>
          <p:nvPr>
            <p:ph sz="quarter" idx="12"/>
          </p:nvPr>
        </p:nvSpPr>
        <p:spPr>
          <a:xfrm>
            <a:off x="486833" y="1196152"/>
            <a:ext cx="11231033" cy="4658549"/>
          </a:xfrm>
        </p:spPr>
        <p:txBody>
          <a:bodyPr/>
          <a:lstStyle>
            <a:lvl1pPr>
              <a:defRPr baseline="0">
                <a:solidFill>
                  <a:schemeClr val="tx1"/>
                </a:solidFill>
                <a:latin typeface="Arial" panose="020B0604020202020204" pitchFamily="34" charset="0"/>
                <a:ea typeface="微软雅黑" panose="020B0503020204020204" charset="-122"/>
              </a:defRPr>
            </a:lvl1pPr>
            <a:lvl2pPr>
              <a:defRPr baseline="0">
                <a:solidFill>
                  <a:schemeClr val="tx1"/>
                </a:solidFill>
                <a:latin typeface="Arial" panose="020B0604020202020204" pitchFamily="34" charset="0"/>
                <a:ea typeface="微软雅黑" panose="020B0503020204020204" charset="-122"/>
              </a:defRPr>
            </a:lvl2pPr>
            <a:lvl3pPr>
              <a:defRPr baseline="0">
                <a:solidFill>
                  <a:schemeClr val="tx1"/>
                </a:solidFill>
                <a:latin typeface="Arial" panose="020B0604020202020204" pitchFamily="34" charset="0"/>
                <a:ea typeface="微软雅黑" panose="020B0503020204020204" charset="-122"/>
              </a:defRPr>
            </a:lvl3pPr>
            <a:lvl4pPr>
              <a:defRPr baseline="0">
                <a:solidFill>
                  <a:schemeClr val="tx1"/>
                </a:solidFill>
                <a:latin typeface="Arial" panose="020B0604020202020204" pitchFamily="34" charset="0"/>
                <a:ea typeface="微软雅黑" panose="020B0503020204020204" charset="-122"/>
              </a:defRPr>
            </a:lvl4pPr>
            <a:lvl5pPr>
              <a:defRPr baseline="0">
                <a:solidFill>
                  <a:schemeClr val="tx1"/>
                </a:solidFill>
                <a:latin typeface="Arial" panose="020B0604020202020204" pitchFamily="34" charset="0"/>
                <a:ea typeface="微软雅黑" panose="020B0503020204020204" charset="-122"/>
              </a:defRPr>
            </a:lvl5pPr>
          </a:lstStyle>
          <a:p>
            <a:pPr lvl="0"/>
            <a:r>
              <a:rPr lang="zh-CN" altLang="en-US" noProof="1"/>
              <a:t>单击此处编辑母版文本样式</a:t>
            </a:r>
            <a:endParaRPr lang="zh-CN" altLang="en-US" noProof="1"/>
          </a:p>
          <a:p>
            <a:pPr lvl="1"/>
            <a:r>
              <a:rPr lang="zh-CN" altLang="en-US" noProof="1"/>
              <a:t>第二级</a:t>
            </a:r>
            <a:endParaRPr lang="zh-CN" altLang="en-US" noProof="1"/>
          </a:p>
          <a:p>
            <a:pPr lvl="2"/>
            <a:r>
              <a:rPr lang="zh-CN" altLang="en-US" noProof="1"/>
              <a:t>第三级</a:t>
            </a:r>
            <a:endParaRPr lang="zh-CN" altLang="en-US" noProof="1"/>
          </a:p>
          <a:p>
            <a:pPr lvl="3"/>
            <a:r>
              <a:rPr lang="zh-CN" altLang="en-US" noProof="1"/>
              <a:t>第四级</a:t>
            </a:r>
            <a:endParaRPr lang="zh-CN" altLang="en-US" noProof="1"/>
          </a:p>
          <a:p>
            <a:pPr lvl="4"/>
            <a:r>
              <a:rPr lang="zh-CN" altLang="en-US" noProof="1"/>
              <a:t>第五级</a:t>
            </a:r>
            <a:endParaRPr lang="en-GB" noProof="1"/>
          </a:p>
        </p:txBody>
      </p:sp>
      <p:sp>
        <p:nvSpPr>
          <p:cNvPr id="8" name="Text Placeholder 2"/>
          <p:cNvSpPr>
            <a:spLocks noGrp="1"/>
          </p:cNvSpPr>
          <p:nvPr>
            <p:ph type="body" sz="quarter" idx="14"/>
          </p:nvPr>
        </p:nvSpPr>
        <p:spPr>
          <a:xfrm>
            <a:off x="486832" y="692554"/>
            <a:ext cx="10130368" cy="234950"/>
          </a:xfrm>
        </p:spPr>
        <p:txBody>
          <a:bodyPr/>
          <a:lstStyle>
            <a:lvl1pPr marL="0" indent="0">
              <a:spcAft>
                <a:spcPts val="0"/>
              </a:spcAft>
              <a:buNone/>
              <a:defRPr sz="1800" baseline="0">
                <a:latin typeface="Arial" panose="020B0604020202020204" pitchFamily="34" charset="0"/>
                <a:ea typeface="微软雅黑" panose="020B0503020204020204" charset="-122"/>
              </a:defRPr>
            </a:lvl1pPr>
            <a:lvl2pPr marL="271780" indent="0">
              <a:buNone/>
              <a:defRPr/>
            </a:lvl2pPr>
            <a:lvl3pPr marL="533400" indent="0">
              <a:buNone/>
              <a:defRPr/>
            </a:lvl3pPr>
            <a:lvl4pPr marL="815975" indent="0">
              <a:buNone/>
              <a:defRPr/>
            </a:lvl4pPr>
            <a:lvl5pPr marL="1104900" indent="0">
              <a:buNone/>
              <a:defRPr/>
            </a:lvl5pPr>
          </a:lstStyle>
          <a:p>
            <a:pPr lvl="0"/>
            <a:r>
              <a:rPr lang="zh-CN" altLang="en-US" noProof="1"/>
              <a:t>单击此处编辑母版文本样式</a:t>
            </a:r>
            <a:endParaRPr lang="zh-CN" altLang="en-US" noProof="1"/>
          </a:p>
        </p:txBody>
      </p:sp>
      <p:sp>
        <p:nvSpPr>
          <p:cNvPr id="6" name="Text Placeholder 5"/>
          <p:cNvSpPr>
            <a:spLocks noGrp="1"/>
          </p:cNvSpPr>
          <p:nvPr>
            <p:ph type="body" sz="quarter" idx="18"/>
          </p:nvPr>
        </p:nvSpPr>
        <p:spPr>
          <a:xfrm>
            <a:off x="492758" y="5965754"/>
            <a:ext cx="11261093" cy="215444"/>
          </a:xfrm>
        </p:spPr>
        <p:txBody>
          <a:bodyPr anchor="b">
            <a:spAutoFit/>
          </a:bodyPr>
          <a:lstStyle>
            <a:lvl1pPr marL="0" indent="0">
              <a:buNone/>
              <a:defRPr sz="800" baseline="0">
                <a:latin typeface="Arial" panose="020B0604020202020204" pitchFamily="34" charset="0"/>
                <a:ea typeface="微软雅黑" panose="020B0503020204020204" charset="-122"/>
              </a:defRPr>
            </a:lvl1pPr>
            <a:lvl2pPr marL="267970" indent="0">
              <a:buNone/>
              <a:defRPr sz="800"/>
            </a:lvl2pPr>
            <a:lvl3pPr marL="539750" indent="0">
              <a:buNone/>
              <a:defRPr sz="800"/>
            </a:lvl3pPr>
            <a:lvl4pPr marL="810895" indent="0">
              <a:buNone/>
              <a:defRPr sz="800"/>
            </a:lvl4pPr>
            <a:lvl5pPr marL="1080135" indent="0">
              <a:buNone/>
              <a:defRPr sz="800"/>
            </a:lvl5pPr>
          </a:lstStyle>
          <a:p>
            <a:pPr lvl="0"/>
            <a:r>
              <a:rPr lang="zh-CN" altLang="en-US" noProof="1"/>
              <a:t>单击此处编辑母版文本样式</a:t>
            </a:r>
            <a:endParaRPr lang="zh-CN" altLang="en-US" noProof="1"/>
          </a:p>
        </p:txBody>
      </p:sp>
      <p:sp>
        <p:nvSpPr>
          <p:cNvPr id="7" name="Date Placeholder 1"/>
          <p:cNvSpPr>
            <a:spLocks noGrp="1"/>
          </p:cNvSpPr>
          <p:nvPr>
            <p:ph type="dt" sz="half" idx="19"/>
          </p:nvPr>
        </p:nvSpPr>
        <p:spPr/>
        <p:txBody>
          <a:bodyPr/>
          <a:lstStyle>
            <a:lvl1pPr algn="ctr">
              <a:defRPr baseline="0">
                <a:solidFill>
                  <a:srgbClr val="9A8B7D"/>
                </a:solidFill>
                <a:latin typeface="Arial" panose="020B0604020202020204" pitchFamily="34" charset="0"/>
                <a:ea typeface="微软雅黑" panose="020B0503020204020204" charset="-122"/>
              </a:defRPr>
            </a:lvl1pPr>
          </a:lstStyle>
          <a:p>
            <a:fld id="{530820CF-B880-4189-942D-D702A7CBA730}" type="datetimeFigureOut">
              <a:rPr lang="zh-CN" altLang="en-US" smtClean="0"/>
            </a:fld>
            <a:endParaRPr lang="zh-CN" altLang="en-US"/>
          </a:p>
        </p:txBody>
      </p:sp>
      <p:sp>
        <p:nvSpPr>
          <p:cNvPr id="9" name="Footer Placeholder 2"/>
          <p:cNvSpPr>
            <a:spLocks noGrp="1"/>
          </p:cNvSpPr>
          <p:nvPr>
            <p:ph type="ftr" sz="quarter" idx="20"/>
          </p:nvPr>
        </p:nvSpPr>
        <p:spPr>
          <a:xfrm>
            <a:off x="383118" y="6437314"/>
            <a:ext cx="10206567" cy="365125"/>
          </a:xfrm>
        </p:spPr>
        <p:txBody>
          <a:bodyPr/>
          <a:lstStyle>
            <a:lvl1pPr>
              <a:defRPr baseline="0">
                <a:solidFill>
                  <a:srgbClr val="9A8B7D"/>
                </a:solidFill>
                <a:latin typeface="Arial" panose="020B0604020202020204" pitchFamily="34" charset="0"/>
                <a:ea typeface="微软雅黑" panose="020B0503020204020204" charset="-122"/>
              </a:defRPr>
            </a:lvl1pPr>
          </a:lstStyle>
          <a:p>
            <a:endParaRPr lang="zh-CN" altLang="en-US"/>
          </a:p>
        </p:txBody>
      </p:sp>
      <p:sp>
        <p:nvSpPr>
          <p:cNvPr id="10" name="Slide Number Placeholder 8"/>
          <p:cNvSpPr>
            <a:spLocks noGrp="1"/>
          </p:cNvSpPr>
          <p:nvPr>
            <p:ph type="sldNum" sz="quarter" idx="21"/>
          </p:nvPr>
        </p:nvSpPr>
        <p:spPr/>
        <p:txBody>
          <a:bodyPr/>
          <a:lstStyle>
            <a:lvl1pPr>
              <a:defRPr>
                <a:solidFill>
                  <a:srgbClr val="9A8B7D"/>
                </a:solidFill>
                <a:latin typeface="Arial" panose="020B0604020202020204" pitchFamily="34" charset="0"/>
                <a:ea typeface="微软雅黑" panose="020B0503020204020204" charset="-122"/>
              </a:defRPr>
            </a:lvl1pPr>
          </a:lstStyle>
          <a:p>
            <a:fld id="{0C913308-F349-4B6D-A68A-DD1791B4A57B}" type="slidenum">
              <a:rPr lang="zh-CN" altLang="en-US" smtClean="0"/>
            </a:fld>
            <a:endParaRPr lang="zh-CN" alt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7" name="标题 1"/>
          <p:cNvSpPr>
            <a:spLocks noGrp="1"/>
          </p:cNvSpPr>
          <p:nvPr>
            <p:ph type="title"/>
          </p:nvPr>
        </p:nvSpPr>
        <p:spPr>
          <a:xfrm>
            <a:off x="600651" y="216776"/>
            <a:ext cx="10972800" cy="710952"/>
          </a:xfrm>
          <a:prstGeom prst="rect">
            <a:avLst/>
          </a:prstGeom>
        </p:spPr>
        <p:txBody>
          <a:bodyPr lIns="91389" tIns="45694" rIns="91389" bIns="45694">
            <a:normAutofit/>
          </a:bodyPr>
          <a:lstStyle>
            <a:lvl1pPr>
              <a:defRPr sz="2955">
                <a:solidFill>
                  <a:srgbClr val="002060"/>
                </a:solidFill>
              </a:defRPr>
            </a:lvl1pPr>
          </a:lstStyle>
          <a:p>
            <a:r>
              <a:rPr lang="zh-CN" altLang="en-US"/>
              <a:t>单击此处编辑母版标题样式</a:t>
            </a:r>
            <a:endParaRPr lang="zh-CN" altLang="en-US" dirty="0"/>
          </a:p>
        </p:txBody>
      </p:sp>
      <p:sp>
        <p:nvSpPr>
          <p:cNvPr id="8" name="内容占位符 2"/>
          <p:cNvSpPr>
            <a:spLocks noGrp="1"/>
          </p:cNvSpPr>
          <p:nvPr>
            <p:ph idx="1"/>
          </p:nvPr>
        </p:nvSpPr>
        <p:spPr>
          <a:xfrm>
            <a:off x="609600" y="1412776"/>
            <a:ext cx="10972800" cy="4176464"/>
          </a:xfrm>
          <a:prstGeom prst="rect">
            <a:avLst/>
          </a:prstGeom>
        </p:spPr>
        <p:txBody>
          <a:bodyPr lIns="91389" tIns="45694" rIns="91389" bIns="45694">
            <a:normAutofit/>
          </a:bodyPr>
          <a:lstStyle>
            <a:lvl1pPr>
              <a:defRPr sz="1845">
                <a:solidFill>
                  <a:srgbClr val="002060"/>
                </a:solidFill>
              </a:defRPr>
            </a:lvl1pPr>
            <a:lvl2pPr>
              <a:defRPr sz="1845">
                <a:solidFill>
                  <a:srgbClr val="002060"/>
                </a:solidFill>
              </a:defRPr>
            </a:lvl2pPr>
            <a:lvl3pPr>
              <a:defRPr sz="1845">
                <a:solidFill>
                  <a:srgbClr val="002060"/>
                </a:solidFill>
              </a:defRPr>
            </a:lvl3pPr>
            <a:lvl4pPr>
              <a:defRPr sz="1845">
                <a:solidFill>
                  <a:srgbClr val="002060"/>
                </a:solidFill>
              </a:defRPr>
            </a:lvl4pPr>
            <a:lvl5pPr>
              <a:defRPr sz="1845">
                <a:solidFill>
                  <a:srgbClr val="002060"/>
                </a:solidFill>
              </a:defRPr>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9" name="内容占位符 2"/>
          <p:cNvSpPr>
            <a:spLocks noGrp="1"/>
          </p:cNvSpPr>
          <p:nvPr>
            <p:ph idx="10"/>
          </p:nvPr>
        </p:nvSpPr>
        <p:spPr>
          <a:xfrm>
            <a:off x="-7955" y="6461720"/>
            <a:ext cx="10084593" cy="279648"/>
          </a:xfrm>
          <a:prstGeom prst="rect">
            <a:avLst/>
          </a:prstGeom>
        </p:spPr>
        <p:txBody>
          <a:bodyPr lIns="91389" tIns="45694" rIns="91389" bIns="45694">
            <a:noAutofit/>
          </a:bodyPr>
          <a:lstStyle>
            <a:lvl1pPr marL="0" indent="0">
              <a:buNone/>
              <a:defRPr sz="1110" b="0">
                <a:solidFill>
                  <a:srgbClr val="002060"/>
                </a:solidFill>
              </a:defRPr>
            </a:lvl1pPr>
            <a:lvl2pPr>
              <a:defRPr sz="1845"/>
            </a:lvl2pPr>
            <a:lvl3pPr>
              <a:defRPr sz="1845"/>
            </a:lvl3pPr>
            <a:lvl4pPr>
              <a:defRPr sz="1845"/>
            </a:lvl4pPr>
            <a:lvl5pPr>
              <a:defRPr sz="1845"/>
            </a:lvl5pPr>
          </a:lstStyle>
          <a:p>
            <a:pPr lvl="0"/>
            <a:r>
              <a:rPr lang="zh-CN" altLang="en-US"/>
              <a:t>单击此处编辑母版文本样式</a:t>
            </a:r>
            <a:endParaRPr lang="zh-CN" altLang="en-US"/>
          </a:p>
        </p:txBody>
      </p:sp>
      <p:sp>
        <p:nvSpPr>
          <p:cNvPr id="10" name="内容占位符 2"/>
          <p:cNvSpPr>
            <a:spLocks noGrp="1"/>
          </p:cNvSpPr>
          <p:nvPr>
            <p:ph idx="11"/>
          </p:nvPr>
        </p:nvSpPr>
        <p:spPr>
          <a:xfrm>
            <a:off x="601236" y="5877272"/>
            <a:ext cx="10989528" cy="504056"/>
          </a:xfrm>
          <a:prstGeom prst="rect">
            <a:avLst/>
          </a:prstGeom>
        </p:spPr>
        <p:txBody>
          <a:bodyPr lIns="91389" tIns="45694" rIns="91389" bIns="45694">
            <a:noAutofit/>
          </a:bodyPr>
          <a:lstStyle>
            <a:lvl1pPr marL="0" indent="0">
              <a:buNone/>
              <a:defRPr sz="1110" b="0">
                <a:solidFill>
                  <a:srgbClr val="002060"/>
                </a:solidFill>
              </a:defRPr>
            </a:lvl1pPr>
            <a:lvl2pPr>
              <a:defRPr sz="1845"/>
            </a:lvl2pPr>
            <a:lvl3pPr>
              <a:defRPr sz="1845"/>
            </a:lvl3pPr>
            <a:lvl4pPr>
              <a:defRPr sz="1845"/>
            </a:lvl4pPr>
            <a:lvl5pPr>
              <a:defRPr sz="1845"/>
            </a:lvl5pPr>
          </a:lstStyle>
          <a:p>
            <a:pPr lvl="0"/>
            <a:r>
              <a:rPr lang="zh-CN" altLang="en-US"/>
              <a:t>单击此处编辑母版文本样式</a:t>
            </a:r>
            <a:endParaRPr lang="zh-CN" altLang="en-US"/>
          </a:p>
        </p:txBody>
      </p:sp>
      <p:sp>
        <p:nvSpPr>
          <p:cNvPr id="6" name="矩形 5"/>
          <p:cNvSpPr/>
          <p:nvPr/>
        </p:nvSpPr>
        <p:spPr>
          <a:xfrm>
            <a:off x="0" y="6748860"/>
            <a:ext cx="12192000" cy="109140"/>
          </a:xfrm>
          <a:prstGeom prst="rect">
            <a:avLst/>
          </a:prstGeom>
          <a:solidFill>
            <a:srgbClr val="A50021">
              <a:alpha val="89804"/>
            </a:srgb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sz="1660" baseline="0">
              <a:latin typeface="Arial" panose="020B0604020202020204" pitchFamily="34" charset="0"/>
              <a:ea typeface="微软雅黑" panose="020B0503020204020204" charset="-122"/>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4" name="Footer Placeholder 3"/>
          <p:cNvSpPr>
            <a:spLocks noGrp="1"/>
          </p:cNvSpPr>
          <p:nvPr>
            <p:ph type="ftr" sz="quarter" idx="11"/>
          </p:nvPr>
        </p:nvSpPr>
        <p:spPr>
          <a:xfrm>
            <a:off x="609600" y="6375401"/>
            <a:ext cx="8839200" cy="390525"/>
          </a:xfrm>
          <a:prstGeom prst="rect">
            <a:avLst/>
          </a:prstGeom>
        </p:spPr>
        <p:txBody>
          <a:bodyPr/>
          <a:lstStyle/>
          <a:p>
            <a:endParaRPr lang="zh-CN" altLang="en-US"/>
          </a:p>
        </p:txBody>
      </p:sp>
      <p:sp>
        <p:nvSpPr>
          <p:cNvPr id="5" name="Slide Number Placeholder 4"/>
          <p:cNvSpPr>
            <a:spLocks noGrp="1"/>
          </p:cNvSpPr>
          <p:nvPr>
            <p:ph type="sldNum" sz="quarter" idx="12"/>
          </p:nvPr>
        </p:nvSpPr>
        <p:spPr/>
        <p:txBody>
          <a:bodyPr/>
          <a:lstStyle/>
          <a:p>
            <a:fld id="{0C913308-F349-4B6D-A68A-DD1791B4A57B}" type="slidenum">
              <a:rPr lang="zh-CN" altLang="en-US" smtClean="0"/>
            </a:fld>
            <a:endParaRPr lang="zh-CN" altLang="en-US"/>
          </a:p>
        </p:txBody>
      </p:sp>
      <p:sp>
        <p:nvSpPr>
          <p:cNvPr id="12" name="Text Placeholder 18"/>
          <p:cNvSpPr>
            <a:spLocks noGrp="1"/>
          </p:cNvSpPr>
          <p:nvPr>
            <p:ph type="body" sz="quarter" idx="15"/>
          </p:nvPr>
        </p:nvSpPr>
        <p:spPr>
          <a:xfrm>
            <a:off x="711200" y="1803401"/>
            <a:ext cx="2957208" cy="378884"/>
          </a:xfrm>
          <a:prstGeom prst="rect">
            <a:avLst/>
          </a:prstGeom>
        </p:spPr>
        <p:txBody>
          <a:bodyPr>
            <a:noAutofit/>
          </a:bodyPr>
          <a:lstStyle>
            <a:lvl1pPr marL="0" indent="0">
              <a:buFontTx/>
              <a:buNone/>
              <a:defRPr sz="1600" b="0">
                <a:solidFill>
                  <a:srgbClr val="0070C0"/>
                </a:solidFill>
                <a:latin typeface="Bebas Neue" pitchFamily="34" charset="0"/>
              </a:defRPr>
            </a:lvl1pPr>
            <a:lvl2pPr marL="457200" indent="0">
              <a:buFontTx/>
              <a:buNone/>
              <a:defRPr sz="1600">
                <a:latin typeface="Bebas Neue" pitchFamily="34" charset="0"/>
              </a:defRPr>
            </a:lvl2pPr>
            <a:lvl3pPr marL="914400" indent="0">
              <a:buFontTx/>
              <a:buNone/>
              <a:defRPr sz="1600">
                <a:latin typeface="Bebas Neue" pitchFamily="34" charset="0"/>
              </a:defRPr>
            </a:lvl3pPr>
            <a:lvl4pPr marL="1371600" indent="0">
              <a:buFontTx/>
              <a:buNone/>
              <a:defRPr sz="1600">
                <a:latin typeface="Bebas Neue" pitchFamily="34" charset="0"/>
              </a:defRPr>
            </a:lvl4pPr>
            <a:lvl5pPr marL="1828800" indent="0">
              <a:buFontTx/>
              <a:buNone/>
              <a:defRPr sz="1600">
                <a:latin typeface="Bebas Neue" pitchFamily="34" charset="0"/>
              </a:defRPr>
            </a:lvl5pPr>
          </a:lstStyle>
          <a:p>
            <a:pPr lvl="0"/>
            <a:r>
              <a:rPr lang="zh-CN" altLang="en-US"/>
              <a:t>单击此处编辑母版文本样式</a:t>
            </a:r>
            <a:endParaRPr lang="zh-CN" altLang="en-US"/>
          </a:p>
        </p:txBody>
      </p:sp>
      <p:sp>
        <p:nvSpPr>
          <p:cNvPr id="13" name="Text Placeholder 20"/>
          <p:cNvSpPr>
            <a:spLocks noGrp="1"/>
          </p:cNvSpPr>
          <p:nvPr>
            <p:ph type="body" sz="quarter" idx="16"/>
          </p:nvPr>
        </p:nvSpPr>
        <p:spPr>
          <a:xfrm>
            <a:off x="711200" y="2108200"/>
            <a:ext cx="3657600" cy="812800"/>
          </a:xfrm>
          <a:prstGeom prst="rect">
            <a:avLst/>
          </a:prstGeom>
        </p:spPr>
        <p:txBody>
          <a:bodyPr>
            <a:normAutofit/>
          </a:bodyPr>
          <a:lstStyle>
            <a:lvl1pPr marL="0" indent="0">
              <a:spcBef>
                <a:spcPts val="0"/>
              </a:spcBef>
              <a:buFontTx/>
              <a:buNone/>
              <a:defRPr sz="1100">
                <a:solidFill>
                  <a:schemeClr val="tx1">
                    <a:lumMod val="85000"/>
                    <a:lumOff val="15000"/>
                  </a:schemeClr>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zh-CN" altLang="en-US"/>
              <a:t>单击此处编辑母版文本样式</a:t>
            </a:r>
            <a:endParaRPr lang="zh-CN" altLang="en-US"/>
          </a:p>
        </p:txBody>
      </p:sp>
      <p:sp>
        <p:nvSpPr>
          <p:cNvPr id="14" name="Text Placeholder 18"/>
          <p:cNvSpPr>
            <a:spLocks noGrp="1"/>
          </p:cNvSpPr>
          <p:nvPr>
            <p:ph type="body" sz="quarter" idx="17"/>
          </p:nvPr>
        </p:nvSpPr>
        <p:spPr>
          <a:xfrm>
            <a:off x="711200" y="3225801"/>
            <a:ext cx="2957208" cy="378884"/>
          </a:xfrm>
          <a:prstGeom prst="rect">
            <a:avLst/>
          </a:prstGeom>
        </p:spPr>
        <p:txBody>
          <a:bodyPr>
            <a:noAutofit/>
          </a:bodyPr>
          <a:lstStyle>
            <a:lvl1pPr marL="0" indent="0">
              <a:buFontTx/>
              <a:buNone/>
              <a:defRPr sz="1600" b="0">
                <a:solidFill>
                  <a:srgbClr val="0070C0"/>
                </a:solidFill>
                <a:latin typeface="Bebas Neue" pitchFamily="34" charset="0"/>
              </a:defRPr>
            </a:lvl1pPr>
            <a:lvl2pPr marL="457200" indent="0">
              <a:buFontTx/>
              <a:buNone/>
              <a:defRPr sz="1600">
                <a:latin typeface="Bebas Neue" pitchFamily="34" charset="0"/>
              </a:defRPr>
            </a:lvl2pPr>
            <a:lvl3pPr marL="914400" indent="0">
              <a:buFontTx/>
              <a:buNone/>
              <a:defRPr sz="1600">
                <a:latin typeface="Bebas Neue" pitchFamily="34" charset="0"/>
              </a:defRPr>
            </a:lvl3pPr>
            <a:lvl4pPr marL="1371600" indent="0">
              <a:buFontTx/>
              <a:buNone/>
              <a:defRPr sz="1600">
                <a:latin typeface="Bebas Neue" pitchFamily="34" charset="0"/>
              </a:defRPr>
            </a:lvl4pPr>
            <a:lvl5pPr marL="1828800" indent="0">
              <a:buFontTx/>
              <a:buNone/>
              <a:defRPr sz="1600">
                <a:latin typeface="Bebas Neue" pitchFamily="34" charset="0"/>
              </a:defRPr>
            </a:lvl5pPr>
          </a:lstStyle>
          <a:p>
            <a:pPr lvl="0"/>
            <a:r>
              <a:rPr lang="zh-CN" altLang="en-US"/>
              <a:t>单击此处编辑母版文本样式</a:t>
            </a:r>
            <a:endParaRPr lang="zh-CN" altLang="en-US"/>
          </a:p>
        </p:txBody>
      </p:sp>
      <p:sp>
        <p:nvSpPr>
          <p:cNvPr id="15" name="Text Placeholder 20"/>
          <p:cNvSpPr>
            <a:spLocks noGrp="1"/>
          </p:cNvSpPr>
          <p:nvPr>
            <p:ph type="body" sz="quarter" idx="18"/>
          </p:nvPr>
        </p:nvSpPr>
        <p:spPr>
          <a:xfrm>
            <a:off x="711200" y="3530600"/>
            <a:ext cx="3657600" cy="812800"/>
          </a:xfrm>
          <a:prstGeom prst="rect">
            <a:avLst/>
          </a:prstGeom>
        </p:spPr>
        <p:txBody>
          <a:bodyPr>
            <a:normAutofit/>
          </a:bodyPr>
          <a:lstStyle>
            <a:lvl1pPr marL="0" indent="0">
              <a:spcBef>
                <a:spcPts val="0"/>
              </a:spcBef>
              <a:buFontTx/>
              <a:buNone/>
              <a:defRPr sz="1100">
                <a:solidFill>
                  <a:schemeClr val="tx1">
                    <a:lumMod val="85000"/>
                    <a:lumOff val="15000"/>
                  </a:schemeClr>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zh-CN" altLang="en-US"/>
              <a:t>单击此处编辑母版文本样式</a:t>
            </a:r>
            <a:endParaRPr lang="zh-CN" altLang="en-US"/>
          </a:p>
        </p:txBody>
      </p:sp>
      <p:sp>
        <p:nvSpPr>
          <p:cNvPr id="16" name="Text Placeholder 18"/>
          <p:cNvSpPr>
            <a:spLocks noGrp="1"/>
          </p:cNvSpPr>
          <p:nvPr>
            <p:ph type="body" sz="quarter" idx="19"/>
          </p:nvPr>
        </p:nvSpPr>
        <p:spPr>
          <a:xfrm>
            <a:off x="711200" y="4648201"/>
            <a:ext cx="2957208" cy="378884"/>
          </a:xfrm>
          <a:prstGeom prst="rect">
            <a:avLst/>
          </a:prstGeom>
        </p:spPr>
        <p:txBody>
          <a:bodyPr>
            <a:noAutofit/>
          </a:bodyPr>
          <a:lstStyle>
            <a:lvl1pPr marL="0" indent="0">
              <a:buFontTx/>
              <a:buNone/>
              <a:defRPr sz="1600" b="0">
                <a:solidFill>
                  <a:srgbClr val="0070C0"/>
                </a:solidFill>
                <a:latin typeface="Bebas Neue" pitchFamily="34" charset="0"/>
              </a:defRPr>
            </a:lvl1pPr>
            <a:lvl2pPr marL="457200" indent="0">
              <a:buFontTx/>
              <a:buNone/>
              <a:defRPr sz="1600">
                <a:latin typeface="Bebas Neue" pitchFamily="34" charset="0"/>
              </a:defRPr>
            </a:lvl2pPr>
            <a:lvl3pPr marL="914400" indent="0">
              <a:buFontTx/>
              <a:buNone/>
              <a:defRPr sz="1600">
                <a:latin typeface="Bebas Neue" pitchFamily="34" charset="0"/>
              </a:defRPr>
            </a:lvl3pPr>
            <a:lvl4pPr marL="1371600" indent="0">
              <a:buFontTx/>
              <a:buNone/>
              <a:defRPr sz="1600">
                <a:latin typeface="Bebas Neue" pitchFamily="34" charset="0"/>
              </a:defRPr>
            </a:lvl4pPr>
            <a:lvl5pPr marL="1828800" indent="0">
              <a:buFontTx/>
              <a:buNone/>
              <a:defRPr sz="1600">
                <a:latin typeface="Bebas Neue" pitchFamily="34" charset="0"/>
              </a:defRPr>
            </a:lvl5pPr>
          </a:lstStyle>
          <a:p>
            <a:pPr lvl="0"/>
            <a:r>
              <a:rPr lang="zh-CN" altLang="en-US"/>
              <a:t>单击此处编辑母版文本样式</a:t>
            </a:r>
            <a:endParaRPr lang="zh-CN" altLang="en-US"/>
          </a:p>
        </p:txBody>
      </p:sp>
      <p:sp>
        <p:nvSpPr>
          <p:cNvPr id="17" name="Text Placeholder 20"/>
          <p:cNvSpPr>
            <a:spLocks noGrp="1"/>
          </p:cNvSpPr>
          <p:nvPr>
            <p:ph type="body" sz="quarter" idx="20"/>
          </p:nvPr>
        </p:nvSpPr>
        <p:spPr>
          <a:xfrm>
            <a:off x="711200" y="4953000"/>
            <a:ext cx="3657600" cy="812800"/>
          </a:xfrm>
          <a:prstGeom prst="rect">
            <a:avLst/>
          </a:prstGeom>
        </p:spPr>
        <p:txBody>
          <a:bodyPr>
            <a:normAutofit/>
          </a:bodyPr>
          <a:lstStyle>
            <a:lvl1pPr marL="0" indent="0">
              <a:spcBef>
                <a:spcPts val="0"/>
              </a:spcBef>
              <a:buFontTx/>
              <a:buNone/>
              <a:defRPr sz="1100">
                <a:solidFill>
                  <a:schemeClr val="tx1">
                    <a:lumMod val="85000"/>
                    <a:lumOff val="15000"/>
                  </a:schemeClr>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zh-CN" altLang="en-US"/>
              <a:t>单击此处编辑母版文本样式</a:t>
            </a:r>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4165349" cy="1600200"/>
          </a:xfrm>
        </p:spPr>
        <p:txBody>
          <a:bodyPr anchor="b"/>
          <a:lstStyle>
            <a:lvl1pPr>
              <a:defRPr sz="3200"/>
            </a:lvl1pPr>
          </a:lstStyle>
          <a:p>
            <a:pPr fontAlgn="base"/>
            <a:r>
              <a:rPr lang="zh-CN" altLang="en-US" strike="noStrike" noProof="1"/>
              <a:t>单击此处编辑母版标题样式</a:t>
            </a:r>
            <a:endParaRPr lang="zh-CN" altLang="en-US" strike="noStrike" noProof="1"/>
          </a:p>
        </p:txBody>
      </p:sp>
      <p:sp>
        <p:nvSpPr>
          <p:cNvPr id="3" name="图片占位符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fontAlgn="base"/>
            <a:r>
              <a:rPr lang="zh-CN" altLang="en-US" strike="noStrike" noProof="1"/>
              <a:t>单击图标添加图片</a:t>
            </a:r>
            <a:endParaRPr lang="zh-CN" altLang="en-US" strike="noStrike" noProof="1"/>
          </a:p>
        </p:txBody>
      </p:sp>
      <p:sp>
        <p:nvSpPr>
          <p:cNvPr id="4" name="文本占位符 3"/>
          <p:cNvSpPr>
            <a:spLocks noGrp="1"/>
          </p:cNvSpPr>
          <p:nvPr>
            <p:ph type="body" sz="half" idx="2" hasCustomPrompt="1"/>
          </p:nvPr>
        </p:nvSpPr>
        <p:spPr>
          <a:xfrm>
            <a:off x="839788" y="2057400"/>
            <a:ext cx="4165349" cy="3811588"/>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fontAlgn="base"/>
            <a:r>
              <a:rPr lang="zh-CN" altLang="en-US" strike="noStrike" noProof="1"/>
              <a:t>编辑母版文本样式</a:t>
            </a:r>
            <a:endParaRPr lang="zh-CN" altLang="en-US" strike="noStrike" noProof="1"/>
          </a:p>
        </p:txBody>
      </p:sp>
      <p:sp>
        <p:nvSpPr>
          <p:cNvPr id="5" name="日期占位符 4"/>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grpSp>
        <p:nvGrpSpPr>
          <p:cNvPr id="2" name="组合 12"/>
          <p:cNvGrpSpPr/>
          <p:nvPr/>
        </p:nvGrpSpPr>
        <p:grpSpPr>
          <a:xfrm>
            <a:off x="2" y="0"/>
            <a:ext cx="12187767" cy="6858000"/>
            <a:chOff x="1588" y="0"/>
            <a:chExt cx="9140825" cy="5143500"/>
          </a:xfrm>
        </p:grpSpPr>
        <p:pic>
          <p:nvPicPr>
            <p:cNvPr id="14" name="图片 22" descr="公司ppt-04.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91408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矩形 14"/>
            <p:cNvSpPr/>
            <p:nvPr/>
          </p:nvSpPr>
          <p:spPr>
            <a:xfrm>
              <a:off x="107504" y="0"/>
              <a:ext cx="432048" cy="5555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pic>
        <p:nvPicPr>
          <p:cNvPr id="12" name="图片 11"/>
          <p:cNvPicPr>
            <a:picLocks noChangeAspect="1"/>
          </p:cNvPicPr>
          <p:nvPr/>
        </p:nvPicPr>
        <p:blipFill>
          <a:blip r:embed="rId3"/>
          <a:stretch>
            <a:fillRect/>
          </a:stretch>
        </p:blipFill>
        <p:spPr>
          <a:xfrm>
            <a:off x="10946594" y="65975"/>
            <a:ext cx="875245" cy="635317"/>
          </a:xfrm>
          <a:prstGeom prst="rect">
            <a:avLst/>
          </a:prstGeom>
        </p:spPr>
      </p:pic>
      <p:pic>
        <p:nvPicPr>
          <p:cNvPr id="16" name="图片 15"/>
          <p:cNvPicPr>
            <a:picLocks noChangeAspect="1"/>
          </p:cNvPicPr>
          <p:nvPr/>
        </p:nvPicPr>
        <p:blipFill>
          <a:blip r:embed="rId4"/>
          <a:stretch>
            <a:fillRect/>
          </a:stretch>
        </p:blipFill>
        <p:spPr>
          <a:xfrm>
            <a:off x="367499" y="80684"/>
            <a:ext cx="491008" cy="605896"/>
          </a:xfrm>
          <a:prstGeom prst="rect">
            <a:avLst/>
          </a:prstGeom>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_仅标题">
    <p:spTree>
      <p:nvGrpSpPr>
        <p:cNvPr id="1" name=""/>
        <p:cNvGrpSpPr/>
        <p:nvPr/>
      </p:nvGrpSpPr>
      <p:grpSpPr>
        <a:xfrm>
          <a:off x="0" y="0"/>
          <a:ext cx="0" cy="0"/>
          <a:chOff x="0" y="0"/>
          <a:chExt cx="0" cy="0"/>
        </a:xfrm>
      </p:grpSpPr>
      <p:sp>
        <p:nvSpPr>
          <p:cNvPr id="3" name="Title 1"/>
          <p:cNvSpPr>
            <a:spLocks noGrp="1"/>
          </p:cNvSpPr>
          <p:nvPr>
            <p:ph type="title"/>
            <p:custDataLst>
              <p:tags r:id="rId2"/>
            </p:custDataLst>
          </p:nvPr>
        </p:nvSpPr>
        <p:spPr>
          <a:xfrm>
            <a:off x="825504" y="137384"/>
            <a:ext cx="8558763" cy="852488"/>
          </a:xfrm>
          <a:prstGeom prst="rect">
            <a:avLst/>
          </a:prstGeom>
        </p:spPr>
        <p:txBody>
          <a:bodyPr anchor="b"/>
          <a:lstStyle>
            <a:lvl1pPr>
              <a:defRPr lang="en-US" kern="1200" dirty="0">
                <a:latin typeface="微软雅黑" panose="020B0503020204020204" charset="-122"/>
                <a:ea typeface="微软雅黑" panose="020B0503020204020204" charset="-122"/>
                <a:cs typeface="Arial" panose="020B0604020202020204" pitchFamily="34" charset="0"/>
              </a:defRPr>
            </a:lvl1pPr>
          </a:lstStyle>
          <a:p>
            <a:pPr lvl="0"/>
            <a:r>
              <a:rPr lang="zh-CN" altLang="en-US"/>
              <a:t>单击此处编辑母版标题样式</a:t>
            </a:r>
            <a:endParaRPr lang="en-US" dirty="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rgbClr val="003087"/>
                </a:solidFill>
                <a:effectLst>
                  <a:outerShdw blurRad="38100" dist="38100" dir="2700000" algn="tl">
                    <a:srgbClr val="000000">
                      <a:alpha val="43137"/>
                    </a:srgbClr>
                  </a:outerShdw>
                </a:effectLst>
              </a:defRPr>
            </a:lvl1pPr>
          </a:lstStyle>
          <a:p>
            <a:r>
              <a:rPr lang="en-US" dirty="0"/>
              <a:t>Click to edit Master title style</a:t>
            </a:r>
            <a:endParaRPr lang="en-US" dirty="0"/>
          </a:p>
        </p:txBody>
      </p:sp>
      <p:sp>
        <p:nvSpPr>
          <p:cNvPr id="4" name="Date Placeholder 3"/>
          <p:cNvSpPr>
            <a:spLocks noGrp="1"/>
          </p:cNvSpPr>
          <p:nvPr>
            <p:ph type="dt" sz="half" idx="10"/>
          </p:nvPr>
        </p:nvSpPr>
        <p:spPr/>
        <p:txBody>
          <a:bodyPr/>
          <a:lstStyle/>
          <a:p>
            <a:fld id="{F693FD2E-1850-6049-A2A9-E87B8FFDAEE0}" type="datetimeFigureOut">
              <a:rPr lang="en-US" smtClean="0">
                <a:solidFill>
                  <a:prstClr val="black">
                    <a:tint val="75000"/>
                  </a:prstClr>
                </a:solidFill>
              </a:rPr>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40D89EE-C43B-7745-81A6-C9CC76072995}" type="slidenum">
              <a:rPr lang="en-US" smtClean="0">
                <a:solidFill>
                  <a:prstClr val="black">
                    <a:tint val="75000"/>
                  </a:prstClr>
                </a:solidFill>
              </a:rPr>
            </a:fld>
            <a:endParaRPr lang="en-US">
              <a:solidFill>
                <a:prstClr val="black">
                  <a:tint val="75000"/>
                </a:prstClr>
              </a:solidFill>
            </a:endParaRPr>
          </a:p>
        </p:txBody>
      </p:sp>
      <p:sp>
        <p:nvSpPr>
          <p:cNvPr id="7" name="文本占位符 7"/>
          <p:cNvSpPr>
            <a:spLocks noGrp="1"/>
          </p:cNvSpPr>
          <p:nvPr>
            <p:ph type="body" sz="quarter" idx="13"/>
          </p:nvPr>
        </p:nvSpPr>
        <p:spPr>
          <a:xfrm>
            <a:off x="609600" y="6356350"/>
            <a:ext cx="10972800" cy="365126"/>
          </a:xfrm>
        </p:spPr>
        <p:txBody>
          <a:bodyPr>
            <a:normAutofit/>
          </a:bodyPr>
          <a:lstStyle>
            <a:lvl1pPr marL="0" indent="0">
              <a:buFontTx/>
              <a:buNone/>
              <a:defRPr sz="800"/>
            </a:lvl1pPr>
          </a:lstStyle>
          <a:p>
            <a:pPr lvl="0"/>
            <a:r>
              <a:rPr lang="zh-CN" altLang="en-US" dirty="0"/>
              <a:t>单击此处编辑母版文本样式</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pPr fontAlgn="base"/>
            <a:r>
              <a:rPr lang="zh-CN" altLang="en-US" strike="noStrike" noProof="1"/>
              <a:t>单击此处编辑母版标题样式</a:t>
            </a:r>
            <a:endParaRPr lang="zh-CN" altLang="en-US" strike="noStrike" noProof="1"/>
          </a:p>
        </p:txBody>
      </p:sp>
      <p:sp>
        <p:nvSpPr>
          <p:cNvPr id="3" name="竖排文字占位符 2"/>
          <p:cNvSpPr>
            <a:spLocks noGrp="1"/>
          </p:cNvSpPr>
          <p:nvPr>
            <p:ph type="body" orient="vert" idx="1" hasCustomPrompt="1"/>
          </p:nvPr>
        </p:nvSpPr>
        <p:spPr>
          <a:xfrm>
            <a:off x="838200" y="365125"/>
            <a:ext cx="7734300" cy="5811838"/>
          </a:xfrm>
        </p:spPr>
        <p:txBody>
          <a:bodyPr vert="eaVert"/>
          <a:lstStyle/>
          <a:p>
            <a:pPr lvl="0" fontAlgn="base"/>
            <a:r>
              <a:rPr lang="zh-CN" altLang="en-US" strike="noStrike" noProof="1"/>
              <a:t>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4" name="日期占位符 3"/>
          <p:cNvSpPr>
            <a:spLocks noGrp="1"/>
          </p:cNvSpPr>
          <p:nvPr>
            <p:ph type="dt" sz="half" idx="10"/>
          </p:nvPr>
        </p:nvSpPr>
        <p:spPr/>
        <p:txBody>
          <a:bodyPr/>
          <a:lstStyle/>
          <a:p>
            <a:fld id="{9C8CC653-EFC1-4CCC-9EAE-3A7A866ABCEC}"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9821390D-C681-4C84-8067-48A0CF0288DE}"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image" Target="../media/image2.png"/><Relationship Id="rId11" Type="http://schemas.openxmlformats.org/officeDocument/2006/relationships/image" Target="../media/image1.png"/><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9.xml"/><Relationship Id="rId8" Type="http://schemas.openxmlformats.org/officeDocument/2006/relationships/slideLayout" Target="../slideLayouts/slideLayout18.xml"/><Relationship Id="rId7" Type="http://schemas.openxmlformats.org/officeDocument/2006/relationships/slideLayout" Target="../slideLayouts/slideLayout17.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3" Type="http://schemas.openxmlformats.org/officeDocument/2006/relationships/slideLayout" Target="../slideLayouts/slideLayout13.xml"/><Relationship Id="rId2" Type="http://schemas.openxmlformats.org/officeDocument/2006/relationships/slideLayout" Target="../slideLayouts/slideLayout12.xml"/><Relationship Id="rId13" Type="http://schemas.openxmlformats.org/officeDocument/2006/relationships/theme" Target="../theme/theme2.xml"/><Relationship Id="rId12" Type="http://schemas.openxmlformats.org/officeDocument/2006/relationships/image" Target="../media/image2.png"/><Relationship Id="rId11" Type="http://schemas.openxmlformats.org/officeDocument/2006/relationships/image" Target="../media/image1.png"/><Relationship Id="rId10" Type="http://schemas.openxmlformats.org/officeDocument/2006/relationships/slideLayout" Target="../slideLayouts/slideLayout20.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9.xml"/><Relationship Id="rId8" Type="http://schemas.openxmlformats.org/officeDocument/2006/relationships/slideLayout" Target="../slideLayouts/slideLayout28.xml"/><Relationship Id="rId7" Type="http://schemas.openxmlformats.org/officeDocument/2006/relationships/slideLayout" Target="../slideLayouts/slideLayout27.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 Id="rId3" Type="http://schemas.openxmlformats.org/officeDocument/2006/relationships/slideLayout" Target="../slideLayouts/slideLayout23.xml"/><Relationship Id="rId20" Type="http://schemas.openxmlformats.org/officeDocument/2006/relationships/theme" Target="../theme/theme3.xml"/><Relationship Id="rId2" Type="http://schemas.openxmlformats.org/officeDocument/2006/relationships/slideLayout" Target="../slideLayouts/slideLayout22.xml"/><Relationship Id="rId19" Type="http://schemas.openxmlformats.org/officeDocument/2006/relationships/slideLayout" Target="../slideLayouts/slideLayout39.xml"/><Relationship Id="rId18" Type="http://schemas.openxmlformats.org/officeDocument/2006/relationships/slideLayout" Target="../slideLayouts/slideLayout38.xml"/><Relationship Id="rId17" Type="http://schemas.openxmlformats.org/officeDocument/2006/relationships/slideLayout" Target="../slideLayouts/slideLayout37.xml"/><Relationship Id="rId16" Type="http://schemas.openxmlformats.org/officeDocument/2006/relationships/slideLayout" Target="../slideLayouts/slideLayout36.xml"/><Relationship Id="rId15" Type="http://schemas.openxmlformats.org/officeDocument/2006/relationships/slideLayout" Target="../slideLayouts/slideLayout35.xml"/><Relationship Id="rId14" Type="http://schemas.openxmlformats.org/officeDocument/2006/relationships/slideLayout" Target="../slideLayouts/slideLayout34.xml"/><Relationship Id="rId13" Type="http://schemas.openxmlformats.org/officeDocument/2006/relationships/slideLayout" Target="../slideLayouts/slideLayout33.xml"/><Relationship Id="rId12" Type="http://schemas.openxmlformats.org/officeDocument/2006/relationships/slideLayout" Target="../slideLayouts/slideLayout32.xml"/><Relationship Id="rId11" Type="http://schemas.openxmlformats.org/officeDocument/2006/relationships/slideLayout" Target="../slideLayouts/slideLayout31.xml"/><Relationship Id="rId10" Type="http://schemas.openxmlformats.org/officeDocument/2006/relationships/slideLayout" Target="../slideLayouts/slideLayout30.xml"/><Relationship Id="rId1"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9" Type="http://schemas.openxmlformats.org/officeDocument/2006/relationships/theme" Target="../theme/theme4.xml"/><Relationship Id="rId8" Type="http://schemas.openxmlformats.org/officeDocument/2006/relationships/image" Target="../media/image7.jpeg"/><Relationship Id="rId7" Type="http://schemas.openxmlformats.org/officeDocument/2006/relationships/image" Target="../media/image8.jpeg"/><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54.xml"/><Relationship Id="rId8" Type="http://schemas.openxmlformats.org/officeDocument/2006/relationships/slideLayout" Target="../slideLayouts/slideLayout53.xml"/><Relationship Id="rId7" Type="http://schemas.openxmlformats.org/officeDocument/2006/relationships/slideLayout" Target="../slideLayouts/slideLayout52.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3" Type="http://schemas.openxmlformats.org/officeDocument/2006/relationships/slideLayout" Target="../slideLayouts/slideLayout48.xml"/><Relationship Id="rId2" Type="http://schemas.openxmlformats.org/officeDocument/2006/relationships/slideLayout" Target="../slideLayouts/slideLayout47.xml"/><Relationship Id="rId17" Type="http://schemas.openxmlformats.org/officeDocument/2006/relationships/theme" Target="../theme/theme5.xml"/><Relationship Id="rId16" Type="http://schemas.openxmlformats.org/officeDocument/2006/relationships/slideLayout" Target="../slideLayouts/slideLayout61.xml"/><Relationship Id="rId15" Type="http://schemas.openxmlformats.org/officeDocument/2006/relationships/slideLayout" Target="../slideLayouts/slideLayout60.xml"/><Relationship Id="rId14" Type="http://schemas.openxmlformats.org/officeDocument/2006/relationships/slideLayout" Target="../slideLayouts/slideLayout59.xml"/><Relationship Id="rId13" Type="http://schemas.openxmlformats.org/officeDocument/2006/relationships/slideLayout" Target="../slideLayouts/slideLayout58.xml"/><Relationship Id="rId12" Type="http://schemas.openxmlformats.org/officeDocument/2006/relationships/slideLayout" Target="../slideLayouts/slideLayout57.xml"/><Relationship Id="rId11" Type="http://schemas.openxmlformats.org/officeDocument/2006/relationships/slideLayout" Target="../slideLayouts/slideLayout56.xml"/><Relationship Id="rId10" Type="http://schemas.openxmlformats.org/officeDocument/2006/relationships/slideLayout" Target="../slideLayouts/slideLayout55.xml"/><Relationship Id="rId1"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62.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71.xml"/><Relationship Id="rId8" Type="http://schemas.openxmlformats.org/officeDocument/2006/relationships/slideLayout" Target="../slideLayouts/slideLayout70.xml"/><Relationship Id="rId7" Type="http://schemas.openxmlformats.org/officeDocument/2006/relationships/slideLayout" Target="../slideLayouts/slideLayout69.xml"/><Relationship Id="rId6" Type="http://schemas.openxmlformats.org/officeDocument/2006/relationships/slideLayout" Target="../slideLayouts/slideLayout68.xml"/><Relationship Id="rId5" Type="http://schemas.openxmlformats.org/officeDocument/2006/relationships/slideLayout" Target="../slideLayouts/slideLayout67.xml"/><Relationship Id="rId4" Type="http://schemas.openxmlformats.org/officeDocument/2006/relationships/slideLayout" Target="../slideLayouts/slideLayout66.xml"/><Relationship Id="rId3" Type="http://schemas.openxmlformats.org/officeDocument/2006/relationships/slideLayout" Target="../slideLayouts/slideLayout65.xml"/><Relationship Id="rId22" Type="http://schemas.openxmlformats.org/officeDocument/2006/relationships/theme" Target="../theme/theme7.xml"/><Relationship Id="rId21" Type="http://schemas.openxmlformats.org/officeDocument/2006/relationships/slideLayout" Target="../slideLayouts/slideLayout83.xml"/><Relationship Id="rId20" Type="http://schemas.openxmlformats.org/officeDocument/2006/relationships/slideLayout" Target="../slideLayouts/slideLayout82.xml"/><Relationship Id="rId2" Type="http://schemas.openxmlformats.org/officeDocument/2006/relationships/slideLayout" Target="../slideLayouts/slideLayout64.xml"/><Relationship Id="rId19" Type="http://schemas.openxmlformats.org/officeDocument/2006/relationships/slideLayout" Target="../slideLayouts/slideLayout81.xml"/><Relationship Id="rId18" Type="http://schemas.openxmlformats.org/officeDocument/2006/relationships/slideLayout" Target="../slideLayouts/slideLayout80.xml"/><Relationship Id="rId17" Type="http://schemas.openxmlformats.org/officeDocument/2006/relationships/slideLayout" Target="../slideLayouts/slideLayout79.xml"/><Relationship Id="rId16" Type="http://schemas.openxmlformats.org/officeDocument/2006/relationships/slideLayout" Target="../slideLayouts/slideLayout78.xml"/><Relationship Id="rId15" Type="http://schemas.openxmlformats.org/officeDocument/2006/relationships/slideLayout" Target="../slideLayouts/slideLayout77.xml"/><Relationship Id="rId14" Type="http://schemas.openxmlformats.org/officeDocument/2006/relationships/slideLayout" Target="../slideLayouts/slideLayout76.xml"/><Relationship Id="rId13" Type="http://schemas.openxmlformats.org/officeDocument/2006/relationships/slideLayout" Target="../slideLayouts/slideLayout75.xml"/><Relationship Id="rId12" Type="http://schemas.openxmlformats.org/officeDocument/2006/relationships/slideLayout" Target="../slideLayouts/slideLayout74.xml"/><Relationship Id="rId11" Type="http://schemas.openxmlformats.org/officeDocument/2006/relationships/slideLayout" Target="../slideLayouts/slideLayout73.xml"/><Relationship Id="rId10" Type="http://schemas.openxmlformats.org/officeDocument/2006/relationships/slideLayout" Target="../slideLayouts/slideLayout72.xml"/><Relationship Id="rId1"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11"/>
          <a:stretch>
            <a:fillRect/>
          </a:stretch>
        </a:blipFill>
        <a:effectLst/>
      </p:bgPr>
    </p:bg>
    <p:spTree>
      <p:nvGrpSpPr>
        <p:cNvPr id="1" name=""/>
        <p:cNvGrpSpPr/>
        <p:nvPr/>
      </p:nvGrpSpPr>
      <p:grpSpPr>
        <a:xfrm>
          <a:off x="0" y="0"/>
          <a:ext cx="0" cy="0"/>
          <a:chOff x="0" y="0"/>
          <a:chExt cx="0" cy="0"/>
        </a:xfrm>
      </p:grpSpPr>
      <p:sp>
        <p:nvSpPr>
          <p:cNvPr id="1026" name="标题占位符 1"/>
          <p:cNvSpPr>
            <a:spLocks noGrp="1"/>
          </p:cNvSpPr>
          <p:nvPr>
            <p:ph type="title"/>
          </p:nvPr>
        </p:nvSpPr>
        <p:spPr>
          <a:xfrm>
            <a:off x="838200" y="365125"/>
            <a:ext cx="10515600" cy="1325563"/>
          </a:xfrm>
          <a:prstGeom prst="rect">
            <a:avLst/>
          </a:prstGeom>
          <a:noFill/>
          <a:ln w="9525">
            <a:noFill/>
          </a:ln>
        </p:spPr>
        <p:txBody>
          <a:bodyPr vert="horz" wrap="square" lIns="91440" tIns="45720" rIns="91440" bIns="45720" anchor="ctr"/>
          <a:lstStyle/>
          <a:p>
            <a:pPr lvl="0"/>
            <a:r>
              <a:rPr lang="zh-CN" altLang="en-US"/>
              <a:t>单击此处编辑母版标题样式</a:t>
            </a:r>
            <a:endParaRPr lang="zh-CN" altLang="en-US"/>
          </a:p>
        </p:txBody>
      </p:sp>
      <p:sp>
        <p:nvSpPr>
          <p:cNvPr id="1027" name="文本占位符 2"/>
          <p:cNvSpPr>
            <a:spLocks noGrp="1"/>
          </p:cNvSpPr>
          <p:nvPr>
            <p:ph type="body"/>
          </p:nvPr>
        </p:nvSpPr>
        <p:spPr>
          <a:xfrm>
            <a:off x="838200" y="1825625"/>
            <a:ext cx="10515600" cy="4351338"/>
          </a:xfrm>
          <a:prstGeom prst="rect">
            <a:avLst/>
          </a:prstGeom>
          <a:noFill/>
          <a:ln w="9525">
            <a:noFill/>
          </a:ln>
        </p:spPr>
        <p:txBody>
          <a:bodyPr vert="horz" wrap="square" lIns="91440" tIns="45720" rIns="91440" bIns="45720" anchor="t"/>
          <a:lstStyle/>
          <a:p>
            <a:pPr lvl="0"/>
            <a:r>
              <a:rPr lang="zh-CN" altLang="en-US"/>
              <a:t>单击此处编辑母版文本样式</a:t>
            </a:r>
            <a:endParaRPr lang="zh-CN" altLang="en-US"/>
          </a:p>
          <a:p>
            <a:pPr lvl="1" indent="-228600"/>
            <a:r>
              <a:rPr lang="zh-CN" altLang="en-US"/>
              <a:t>第二级</a:t>
            </a:r>
            <a:endParaRPr lang="zh-CN" altLang="en-US"/>
          </a:p>
          <a:p>
            <a:pPr lvl="2" indent="-228600"/>
            <a:r>
              <a:rPr lang="zh-CN" altLang="en-US"/>
              <a:t>第三级</a:t>
            </a:r>
            <a:endParaRPr lang="zh-CN" altLang="en-US"/>
          </a:p>
          <a:p>
            <a:pPr lvl="3" indent="-228600"/>
            <a:r>
              <a:rPr lang="zh-CN" altLang="en-US"/>
              <a:t>第四级</a:t>
            </a:r>
            <a:endParaRPr lang="zh-CN" altLang="en-US"/>
          </a:p>
          <a:p>
            <a:pPr lvl="4" indent="-228600"/>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buFont typeface="Arial" panose="020B0604020202020204" pitchFamily="34" charset="0"/>
              <a:buNone/>
              <a:defRPr sz="1200" noProof="1">
                <a:solidFill>
                  <a:schemeClr val="tx1">
                    <a:tint val="75000"/>
                  </a:schemeClr>
                </a:solidFill>
                <a:latin typeface="+mn-lt"/>
                <a:ea typeface="+mn-ea"/>
              </a:defRPr>
            </a:lvl1pPr>
          </a:lstStyle>
          <a:p>
            <a:fld id="{9C8CC653-EFC1-4CCC-9EAE-3A7A866ABCEC}" type="datetimeFigureOut">
              <a:rPr lang="zh-CN" altLang="en-US" smtClean="0"/>
            </a:fld>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lstStyle>
            <a:lvl1pPr algn="r" eaLnBrk="1" hangingPunct="1">
              <a:buFont typeface="Arial" panose="020B0604020202020204" pitchFamily="34" charset="0"/>
              <a:buNone/>
              <a:defRPr sz="1200">
                <a:solidFill>
                  <a:srgbClr val="898989"/>
                </a:solidFill>
              </a:defRPr>
            </a:lvl1pPr>
          </a:lstStyle>
          <a:p>
            <a:fld id="{9821390D-C681-4C84-8067-48A0CF0288DE}" type="slidenum">
              <a:rPr lang="zh-CN" altLang="en-US" smtClean="0"/>
            </a:fld>
            <a:endParaRPr lang="zh-CN" altLang="en-US"/>
          </a:p>
        </p:txBody>
      </p:sp>
      <p:grpSp>
        <p:nvGrpSpPr>
          <p:cNvPr id="2" name="组合 6"/>
          <p:cNvGrpSpPr/>
          <p:nvPr/>
        </p:nvGrpSpPr>
        <p:grpSpPr>
          <a:xfrm>
            <a:off x="8799774" y="6298677"/>
            <a:ext cx="3279775" cy="466725"/>
            <a:chOff x="4500" y="10110"/>
            <a:chExt cx="5163" cy="736"/>
          </a:xfrm>
        </p:grpSpPr>
        <p:pic>
          <p:nvPicPr>
            <p:cNvPr id="8" name="图片 4" descr="微信图片_20181213105830"/>
            <p:cNvPicPr>
              <a:picLocks noChangeAspect="1"/>
            </p:cNvPicPr>
            <p:nvPr/>
          </p:nvPicPr>
          <p:blipFill>
            <a:blip r:embed="rId12" cstate="print"/>
            <a:stretch>
              <a:fillRect/>
            </a:stretch>
          </p:blipFill>
          <p:spPr>
            <a:xfrm>
              <a:off x="4500" y="10110"/>
              <a:ext cx="3275" cy="737"/>
            </a:xfrm>
            <a:prstGeom prst="rect">
              <a:avLst/>
            </a:prstGeom>
            <a:noFill/>
            <a:ln w="9525">
              <a:noFill/>
            </a:ln>
          </p:spPr>
        </p:pic>
        <p:sp>
          <p:nvSpPr>
            <p:cNvPr id="9" name="文本框 5"/>
            <p:cNvSpPr txBox="1"/>
            <p:nvPr/>
          </p:nvSpPr>
          <p:spPr>
            <a:xfrm>
              <a:off x="7775" y="10164"/>
              <a:ext cx="1888" cy="628"/>
            </a:xfrm>
            <a:prstGeom prst="rect">
              <a:avLst/>
            </a:prstGeom>
            <a:noFill/>
            <a:ln w="9525">
              <a:noFill/>
            </a:ln>
          </p:spPr>
          <p:txBody>
            <a:bodyPr wrap="none" anchor="t">
              <a:spAutoFit/>
            </a:bodyPr>
            <a:lstStyle/>
            <a:p>
              <a:pPr eaLnBrk="0" hangingPunct="0"/>
              <a:r>
                <a:rPr lang="zh-CN" altLang="en-US" sz="2000" dirty="0">
                  <a:solidFill>
                    <a:srgbClr val="024687"/>
                  </a:solidFill>
                  <a:latin typeface="华文行楷" panose="02010800040101010101" charset="-122"/>
                  <a:ea typeface="华文行楷" panose="02010800040101010101" charset="-122"/>
                </a:rPr>
                <a:t>附属二院</a:t>
              </a:r>
              <a:endParaRPr lang="zh-CN" altLang="en-US" sz="2000" dirty="0">
                <a:solidFill>
                  <a:srgbClr val="024687"/>
                </a:solidFill>
                <a:latin typeface="华文行楷" panose="02010800040101010101" charset="-122"/>
                <a:ea typeface="华文行楷" panose="02010800040101010101" charset="-122"/>
              </a:endParaRP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rtl="0" eaLnBrk="1" fontAlgn="base" hangingPunct="1">
        <a:lnSpc>
          <a:spcPct val="90000"/>
        </a:lnSpc>
        <a:spcBef>
          <a:spcPct val="0"/>
        </a:spcBef>
        <a:spcAft>
          <a:spcPct val="0"/>
        </a:spcAft>
        <a:defRPr sz="2800" b="1" kern="1200">
          <a:solidFill>
            <a:srgbClr val="C00000"/>
          </a:solidFill>
          <a:latin typeface="微软雅黑" panose="020B0503020204020204" charset="-122"/>
          <a:ea typeface="微软雅黑" panose="020B0503020204020204" charset="-122"/>
          <a:cs typeface="+mj-cs"/>
        </a:defRPr>
      </a:lvl1pPr>
      <a:lvl2pPr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2pPr>
      <a:lvl3pPr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3pPr>
      <a:lvl4pPr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4pPr>
      <a:lvl5pPr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5pPr>
      <a:lvl6pPr marL="457200"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6pPr>
      <a:lvl7pPr marL="914400"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7pPr>
      <a:lvl8pPr marL="1371600"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8pPr>
      <a:lvl9pPr marL="1828800"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9pPr>
    </p:titleStyle>
    <p:bodyStyle>
      <a:lvl1pPr marL="228600" indent="-228600" algn="l" rtl="0" eaLnBrk="1" fontAlgn="base" hangingPunct="1">
        <a:lnSpc>
          <a:spcPct val="90000"/>
        </a:lnSpc>
        <a:spcBef>
          <a:spcPts val="1000"/>
        </a:spcBef>
        <a:spcAft>
          <a:spcPct val="0"/>
        </a:spcAft>
        <a:buClr>
          <a:srgbClr val="C00000"/>
        </a:buClr>
        <a:buFont typeface="Wingdings" panose="05000000000000000000" pitchFamily="2" charset="2"/>
        <a:buChar char=""/>
        <a:defRPr sz="2400" b="1" kern="1200">
          <a:solidFill>
            <a:srgbClr val="003399"/>
          </a:solidFill>
          <a:latin typeface="微软雅黑" panose="020B0503020204020204" charset="-122"/>
          <a:ea typeface="微软雅黑" panose="020B0503020204020204" charset="-122"/>
          <a:cs typeface="+mn-cs"/>
        </a:defRPr>
      </a:lvl1pPr>
      <a:lvl2pPr marL="685800" indent="-228600" algn="l" rtl="0" eaLnBrk="1" fontAlgn="base" hangingPunct="1">
        <a:lnSpc>
          <a:spcPct val="90000"/>
        </a:lnSpc>
        <a:spcBef>
          <a:spcPts val="500"/>
        </a:spcBef>
        <a:spcAft>
          <a:spcPct val="0"/>
        </a:spcAft>
        <a:buClr>
          <a:srgbClr val="C00000"/>
        </a:buClr>
        <a:buFont typeface="Wingdings" panose="05000000000000000000" pitchFamily="2" charset="2"/>
        <a:buChar char=""/>
        <a:defRPr sz="2400" b="1" kern="1200">
          <a:solidFill>
            <a:srgbClr val="003399"/>
          </a:solidFill>
          <a:latin typeface="微软雅黑" panose="020B0503020204020204" charset="-122"/>
          <a:ea typeface="微软雅黑" panose="020B0503020204020204" charset="-122"/>
          <a:cs typeface="+mn-cs"/>
        </a:defRPr>
      </a:lvl2pPr>
      <a:lvl3pPr marL="1143000" indent="-228600" algn="l" rtl="0" eaLnBrk="1" fontAlgn="base" hangingPunct="1">
        <a:lnSpc>
          <a:spcPct val="90000"/>
        </a:lnSpc>
        <a:spcBef>
          <a:spcPts val="500"/>
        </a:spcBef>
        <a:spcAft>
          <a:spcPct val="0"/>
        </a:spcAft>
        <a:buClr>
          <a:srgbClr val="C00000"/>
        </a:buClr>
        <a:buFont typeface="Wingdings" panose="05000000000000000000" pitchFamily="2" charset="2"/>
        <a:buChar char=""/>
        <a:defRPr sz="2000" b="1" kern="1200">
          <a:solidFill>
            <a:srgbClr val="003399"/>
          </a:solidFill>
          <a:latin typeface="微软雅黑" panose="020B0503020204020204" charset="-122"/>
          <a:ea typeface="微软雅黑" panose="020B0503020204020204" charset="-122"/>
          <a:cs typeface="+mn-cs"/>
        </a:defRPr>
      </a:lvl3pPr>
      <a:lvl4pPr marL="1600200" indent="-228600" algn="l" rtl="0" eaLnBrk="1" fontAlgn="base" hangingPunct="1">
        <a:lnSpc>
          <a:spcPct val="90000"/>
        </a:lnSpc>
        <a:spcBef>
          <a:spcPts val="500"/>
        </a:spcBef>
        <a:spcAft>
          <a:spcPct val="0"/>
        </a:spcAft>
        <a:buClr>
          <a:srgbClr val="C00000"/>
        </a:buClr>
        <a:buFont typeface="Wingdings" panose="05000000000000000000" pitchFamily="2" charset="2"/>
        <a:buChar char=""/>
        <a:defRPr sz="2000" b="1" kern="1200">
          <a:solidFill>
            <a:srgbClr val="003399"/>
          </a:solidFill>
          <a:latin typeface="微软雅黑" panose="020B0503020204020204" charset="-122"/>
          <a:ea typeface="微软雅黑" panose="020B0503020204020204" charset="-122"/>
          <a:cs typeface="+mn-cs"/>
        </a:defRPr>
      </a:lvl4pPr>
      <a:lvl5pPr marL="2057400" indent="-228600" algn="l" rtl="0" eaLnBrk="1" fontAlgn="base" hangingPunct="1">
        <a:lnSpc>
          <a:spcPct val="90000"/>
        </a:lnSpc>
        <a:spcBef>
          <a:spcPts val="500"/>
        </a:spcBef>
        <a:spcAft>
          <a:spcPct val="0"/>
        </a:spcAft>
        <a:buClr>
          <a:srgbClr val="C00000"/>
        </a:buClr>
        <a:buFont typeface="Wingdings" panose="05000000000000000000" pitchFamily="2" charset="2"/>
        <a:buChar char=""/>
        <a:defRPr sz="2000" b="1" kern="1200">
          <a:solidFill>
            <a:srgbClr val="003399"/>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11"/>
          <a:stretch>
            <a:fillRect/>
          </a:stretch>
        </a:blipFill>
        <a:effectLst/>
      </p:bgPr>
    </p:bg>
    <p:spTree>
      <p:nvGrpSpPr>
        <p:cNvPr id="1" name=""/>
        <p:cNvGrpSpPr/>
        <p:nvPr/>
      </p:nvGrpSpPr>
      <p:grpSpPr>
        <a:xfrm>
          <a:off x="0" y="0"/>
          <a:ext cx="0" cy="0"/>
          <a:chOff x="0" y="0"/>
          <a:chExt cx="0" cy="0"/>
        </a:xfrm>
      </p:grpSpPr>
      <p:sp>
        <p:nvSpPr>
          <p:cNvPr id="1026" name="标题占位符 1"/>
          <p:cNvSpPr>
            <a:spLocks noGrp="1"/>
          </p:cNvSpPr>
          <p:nvPr>
            <p:ph type="title"/>
          </p:nvPr>
        </p:nvSpPr>
        <p:spPr>
          <a:xfrm>
            <a:off x="838200" y="365125"/>
            <a:ext cx="10515600" cy="1325563"/>
          </a:xfrm>
          <a:prstGeom prst="rect">
            <a:avLst/>
          </a:prstGeom>
          <a:noFill/>
          <a:ln w="9525">
            <a:noFill/>
          </a:ln>
        </p:spPr>
        <p:txBody>
          <a:bodyPr vert="horz" wrap="square" lIns="91440" tIns="45720" rIns="91440" bIns="45720" anchor="ctr"/>
          <a:lstStyle/>
          <a:p>
            <a:pPr lvl="0"/>
            <a:r>
              <a:rPr lang="zh-CN" altLang="en-US"/>
              <a:t>单击此处编辑母版标题样式</a:t>
            </a:r>
            <a:endParaRPr lang="zh-CN" altLang="en-US"/>
          </a:p>
        </p:txBody>
      </p:sp>
      <p:sp>
        <p:nvSpPr>
          <p:cNvPr id="1027" name="文本占位符 2"/>
          <p:cNvSpPr>
            <a:spLocks noGrp="1"/>
          </p:cNvSpPr>
          <p:nvPr>
            <p:ph type="body"/>
          </p:nvPr>
        </p:nvSpPr>
        <p:spPr>
          <a:xfrm>
            <a:off x="838200" y="1825625"/>
            <a:ext cx="10515600" cy="4351338"/>
          </a:xfrm>
          <a:prstGeom prst="rect">
            <a:avLst/>
          </a:prstGeom>
          <a:noFill/>
          <a:ln w="9525">
            <a:noFill/>
          </a:ln>
        </p:spPr>
        <p:txBody>
          <a:bodyPr vert="horz" wrap="square" lIns="91440" tIns="45720" rIns="91440" bIns="45720" anchor="t"/>
          <a:lstStyle/>
          <a:p>
            <a:pPr lvl="0"/>
            <a:r>
              <a:rPr lang="zh-CN" altLang="en-US"/>
              <a:t>单击此处编辑母版文本样式</a:t>
            </a:r>
            <a:endParaRPr lang="zh-CN" altLang="en-US"/>
          </a:p>
          <a:p>
            <a:pPr lvl="1" indent="-228600"/>
            <a:r>
              <a:rPr lang="zh-CN" altLang="en-US"/>
              <a:t>第二级</a:t>
            </a:r>
            <a:endParaRPr lang="zh-CN" altLang="en-US"/>
          </a:p>
          <a:p>
            <a:pPr lvl="2" indent="-228600"/>
            <a:r>
              <a:rPr lang="zh-CN" altLang="en-US"/>
              <a:t>第三级</a:t>
            </a:r>
            <a:endParaRPr lang="zh-CN" altLang="en-US"/>
          </a:p>
          <a:p>
            <a:pPr lvl="3" indent="-228600"/>
            <a:r>
              <a:rPr lang="zh-CN" altLang="en-US"/>
              <a:t>第四级</a:t>
            </a:r>
            <a:endParaRPr lang="zh-CN" altLang="en-US"/>
          </a:p>
          <a:p>
            <a:pPr lvl="4" indent="-228600"/>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buFont typeface="Arial" panose="020B0604020202020204" pitchFamily="34" charset="0"/>
              <a:buNone/>
              <a:defRPr sz="1200" noProof="1">
                <a:solidFill>
                  <a:schemeClr val="tx1">
                    <a:tint val="75000"/>
                  </a:schemeClr>
                </a:solidFill>
                <a:latin typeface="+mn-lt"/>
                <a:ea typeface="+mn-ea"/>
              </a:defRPr>
            </a:lvl1pPr>
          </a:lstStyle>
          <a:p>
            <a:pPr fontAlgn="auto">
              <a:defRPr/>
            </a:pPr>
            <a:endParaRPr lang="zh-CN" altLang="en-US" strike="noStrike" noProof="1"/>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buFont typeface="Arial" panose="020B0604020202020204" pitchFamily="34" charset="0"/>
              <a:buNone/>
              <a:defRPr sz="1200" noProof="1">
                <a:solidFill>
                  <a:schemeClr val="tx1">
                    <a:tint val="75000"/>
                  </a:schemeClr>
                </a:solidFill>
              </a:defRPr>
            </a:lvl1pPr>
          </a:lstStyle>
          <a:p>
            <a:pPr fontAlgn="auto">
              <a:defRPr/>
            </a:pPr>
            <a:r>
              <a:rPr lang="zh-CN" altLang="en-US" strike="noStrike" noProof="1">
                <a:latin typeface="Calibri" panose="020F0502020204030204" pitchFamily="34" charset="0"/>
                <a:ea typeface="宋体" panose="02010600030101010101" pitchFamily="2" charset="-122"/>
                <a:cs typeface="+mn-cs"/>
              </a:rPr>
              <a:t>Dr_IVR</a:t>
            </a:r>
            <a:endParaRPr lang="zh-CN" altLang="en-US" strike="noStrike" noProof="1"/>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lstStyle>
            <a:lvl1pPr algn="r" eaLnBrk="1" hangingPunct="1">
              <a:buFont typeface="Arial" panose="020B0604020202020204" pitchFamily="34" charset="0"/>
              <a:buNone/>
              <a:defRPr sz="1200">
                <a:solidFill>
                  <a:srgbClr val="898989"/>
                </a:solidFill>
              </a:defRPr>
            </a:lvl1pPr>
          </a:lstStyle>
          <a:p>
            <a:pPr fontAlgn="base">
              <a:defRPr/>
            </a:pPr>
            <a:fld id="{A3211399-959E-7F40-951F-276E15A1E20F}" type="slidenum">
              <a:rPr lang="en-US" altLang="en-US" strike="noStrike" noProof="1">
                <a:latin typeface="Calibri" panose="020F0502020204030204" pitchFamily="34" charset="0"/>
                <a:ea typeface="宋体" panose="02010600030101010101" pitchFamily="2" charset="-122"/>
                <a:cs typeface="+mn-cs"/>
              </a:rPr>
            </a:fld>
            <a:endParaRPr lang="en-US" altLang="en-US" strike="noStrike" noProof="1"/>
          </a:p>
        </p:txBody>
      </p:sp>
      <p:grpSp>
        <p:nvGrpSpPr>
          <p:cNvPr id="2" name="组合 6"/>
          <p:cNvGrpSpPr/>
          <p:nvPr/>
        </p:nvGrpSpPr>
        <p:grpSpPr>
          <a:xfrm>
            <a:off x="8799774" y="6298677"/>
            <a:ext cx="3279775" cy="466725"/>
            <a:chOff x="4500" y="10110"/>
            <a:chExt cx="5163" cy="736"/>
          </a:xfrm>
        </p:grpSpPr>
        <p:pic>
          <p:nvPicPr>
            <p:cNvPr id="8" name="图片 4" descr="微信图片_20181213105830"/>
            <p:cNvPicPr>
              <a:picLocks noChangeAspect="1"/>
            </p:cNvPicPr>
            <p:nvPr/>
          </p:nvPicPr>
          <p:blipFill>
            <a:blip r:embed="rId12" cstate="print"/>
            <a:stretch>
              <a:fillRect/>
            </a:stretch>
          </p:blipFill>
          <p:spPr>
            <a:xfrm>
              <a:off x="4500" y="10110"/>
              <a:ext cx="3275" cy="737"/>
            </a:xfrm>
            <a:prstGeom prst="rect">
              <a:avLst/>
            </a:prstGeom>
            <a:noFill/>
            <a:ln w="9525">
              <a:noFill/>
            </a:ln>
          </p:spPr>
        </p:pic>
        <p:sp>
          <p:nvSpPr>
            <p:cNvPr id="9" name="文本框 5"/>
            <p:cNvSpPr txBox="1"/>
            <p:nvPr/>
          </p:nvSpPr>
          <p:spPr>
            <a:xfrm>
              <a:off x="7775" y="10164"/>
              <a:ext cx="1888" cy="628"/>
            </a:xfrm>
            <a:prstGeom prst="rect">
              <a:avLst/>
            </a:prstGeom>
            <a:noFill/>
            <a:ln w="9525">
              <a:noFill/>
            </a:ln>
          </p:spPr>
          <p:txBody>
            <a:bodyPr wrap="none" anchor="t">
              <a:spAutoFit/>
            </a:bodyPr>
            <a:lstStyle/>
            <a:p>
              <a:pPr eaLnBrk="0" hangingPunct="0"/>
              <a:r>
                <a:rPr lang="zh-CN" altLang="en-US" sz="2000" dirty="0">
                  <a:solidFill>
                    <a:srgbClr val="024687"/>
                  </a:solidFill>
                  <a:latin typeface="华文行楷" panose="02010800040101010101" charset="-122"/>
                  <a:ea typeface="华文行楷" panose="02010800040101010101" charset="-122"/>
                </a:rPr>
                <a:t>附属二院</a:t>
              </a:r>
              <a:endParaRPr lang="zh-CN" altLang="en-US" sz="2000" dirty="0">
                <a:solidFill>
                  <a:srgbClr val="024687"/>
                </a:solidFill>
                <a:latin typeface="华文行楷" panose="02010800040101010101" charset="-122"/>
                <a:ea typeface="华文行楷" panose="02010800040101010101" charset="-122"/>
              </a:endParaRPr>
            </a:p>
          </p:txBody>
        </p:sp>
      </p:gr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Lst>
  <p:hf sldNum="0" hdr="0" ftr="0" dt="0"/>
  <p:txStyles>
    <p:titleStyle>
      <a:lvl1pPr algn="l" rtl="0" eaLnBrk="1" fontAlgn="base" hangingPunct="1">
        <a:lnSpc>
          <a:spcPct val="90000"/>
        </a:lnSpc>
        <a:spcBef>
          <a:spcPct val="0"/>
        </a:spcBef>
        <a:spcAft>
          <a:spcPct val="0"/>
        </a:spcAft>
        <a:defRPr sz="2800" b="1" kern="1200">
          <a:solidFill>
            <a:srgbClr val="C00000"/>
          </a:solidFill>
          <a:latin typeface="微软雅黑" panose="020B0503020204020204" charset="-122"/>
          <a:ea typeface="微软雅黑" panose="020B0503020204020204" charset="-122"/>
          <a:cs typeface="+mj-cs"/>
        </a:defRPr>
      </a:lvl1pPr>
      <a:lvl2pPr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2pPr>
      <a:lvl3pPr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3pPr>
      <a:lvl4pPr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4pPr>
      <a:lvl5pPr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5pPr>
      <a:lvl6pPr marL="457200"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6pPr>
      <a:lvl7pPr marL="914400"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7pPr>
      <a:lvl8pPr marL="1371600"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8pPr>
      <a:lvl9pPr marL="1828800" algn="l" rtl="0" eaLnBrk="1" fontAlgn="base" hangingPunct="1">
        <a:lnSpc>
          <a:spcPct val="90000"/>
        </a:lnSpc>
        <a:spcBef>
          <a:spcPct val="0"/>
        </a:spcBef>
        <a:spcAft>
          <a:spcPct val="0"/>
        </a:spcAft>
        <a:defRPr sz="2800" b="1">
          <a:solidFill>
            <a:srgbClr val="C00000"/>
          </a:solidFill>
          <a:latin typeface="微软雅黑" panose="020B0503020204020204" charset="-122"/>
          <a:ea typeface="微软雅黑" panose="020B0503020204020204" charset="-122"/>
        </a:defRPr>
      </a:lvl9pPr>
    </p:titleStyle>
    <p:bodyStyle>
      <a:lvl1pPr marL="228600" indent="-228600" algn="l" rtl="0" eaLnBrk="1" fontAlgn="base" hangingPunct="1">
        <a:lnSpc>
          <a:spcPct val="90000"/>
        </a:lnSpc>
        <a:spcBef>
          <a:spcPts val="1000"/>
        </a:spcBef>
        <a:spcAft>
          <a:spcPct val="0"/>
        </a:spcAft>
        <a:buClr>
          <a:srgbClr val="C00000"/>
        </a:buClr>
        <a:buFont typeface="Wingdings" panose="05000000000000000000" pitchFamily="2" charset="2"/>
        <a:buChar char=""/>
        <a:defRPr sz="2400" b="1" kern="1200">
          <a:solidFill>
            <a:srgbClr val="003399"/>
          </a:solidFill>
          <a:latin typeface="微软雅黑" panose="020B0503020204020204" charset="-122"/>
          <a:ea typeface="微软雅黑" panose="020B0503020204020204" charset="-122"/>
          <a:cs typeface="+mn-cs"/>
        </a:defRPr>
      </a:lvl1pPr>
      <a:lvl2pPr marL="685800" indent="-228600" algn="l" rtl="0" eaLnBrk="1" fontAlgn="base" hangingPunct="1">
        <a:lnSpc>
          <a:spcPct val="90000"/>
        </a:lnSpc>
        <a:spcBef>
          <a:spcPts val="500"/>
        </a:spcBef>
        <a:spcAft>
          <a:spcPct val="0"/>
        </a:spcAft>
        <a:buClr>
          <a:srgbClr val="C00000"/>
        </a:buClr>
        <a:buFont typeface="Wingdings" panose="05000000000000000000" pitchFamily="2" charset="2"/>
        <a:buChar char=""/>
        <a:defRPr sz="2400" b="1" kern="1200">
          <a:solidFill>
            <a:srgbClr val="003399"/>
          </a:solidFill>
          <a:latin typeface="微软雅黑" panose="020B0503020204020204" charset="-122"/>
          <a:ea typeface="微软雅黑" panose="020B0503020204020204" charset="-122"/>
          <a:cs typeface="+mn-cs"/>
        </a:defRPr>
      </a:lvl2pPr>
      <a:lvl3pPr marL="1143000" indent="-228600" algn="l" rtl="0" eaLnBrk="1" fontAlgn="base" hangingPunct="1">
        <a:lnSpc>
          <a:spcPct val="90000"/>
        </a:lnSpc>
        <a:spcBef>
          <a:spcPts val="500"/>
        </a:spcBef>
        <a:spcAft>
          <a:spcPct val="0"/>
        </a:spcAft>
        <a:buClr>
          <a:srgbClr val="C00000"/>
        </a:buClr>
        <a:buFont typeface="Wingdings" panose="05000000000000000000" pitchFamily="2" charset="2"/>
        <a:buChar char=""/>
        <a:defRPr sz="2000" b="1" kern="1200">
          <a:solidFill>
            <a:srgbClr val="003399"/>
          </a:solidFill>
          <a:latin typeface="微软雅黑" panose="020B0503020204020204" charset="-122"/>
          <a:ea typeface="微软雅黑" panose="020B0503020204020204" charset="-122"/>
          <a:cs typeface="+mn-cs"/>
        </a:defRPr>
      </a:lvl3pPr>
      <a:lvl4pPr marL="1600200" indent="-228600" algn="l" rtl="0" eaLnBrk="1" fontAlgn="base" hangingPunct="1">
        <a:lnSpc>
          <a:spcPct val="90000"/>
        </a:lnSpc>
        <a:spcBef>
          <a:spcPts val="500"/>
        </a:spcBef>
        <a:spcAft>
          <a:spcPct val="0"/>
        </a:spcAft>
        <a:buClr>
          <a:srgbClr val="C00000"/>
        </a:buClr>
        <a:buFont typeface="Wingdings" panose="05000000000000000000" pitchFamily="2" charset="2"/>
        <a:buChar char=""/>
        <a:defRPr sz="2000" b="1" kern="1200">
          <a:solidFill>
            <a:srgbClr val="003399"/>
          </a:solidFill>
          <a:latin typeface="微软雅黑" panose="020B0503020204020204" charset="-122"/>
          <a:ea typeface="微软雅黑" panose="020B0503020204020204" charset="-122"/>
          <a:cs typeface="+mn-cs"/>
        </a:defRPr>
      </a:lvl4pPr>
      <a:lvl5pPr marL="2057400" indent="-228600" algn="l" rtl="0" eaLnBrk="1" fontAlgn="base" hangingPunct="1">
        <a:lnSpc>
          <a:spcPct val="90000"/>
        </a:lnSpc>
        <a:spcBef>
          <a:spcPts val="500"/>
        </a:spcBef>
        <a:spcAft>
          <a:spcPct val="0"/>
        </a:spcAft>
        <a:buClr>
          <a:srgbClr val="C00000"/>
        </a:buClr>
        <a:buFont typeface="Wingdings" panose="05000000000000000000" pitchFamily="2" charset="2"/>
        <a:buChar char=""/>
        <a:defRPr sz="2000" b="1" kern="1200">
          <a:solidFill>
            <a:srgbClr val="003399"/>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8CC653-EFC1-4CCC-9EAE-3A7A866ABCEC}" type="datetimeFigureOut">
              <a:rPr lang="zh-CN" altLang="en-US" smtClean="0"/>
            </a:fld>
            <a:endParaRPr lang="zh-CN" alt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21390D-C681-4C84-8067-48A0CF0288DE}" type="slidenum">
              <a:rPr lang="zh-CN" altLang="en-US" smtClean="0"/>
            </a:fld>
            <a:endParaRPr lang="zh-CN" altLang="en-US"/>
          </a:p>
        </p:txBody>
      </p:sp>
      <p:sp>
        <p:nvSpPr>
          <p:cNvPr id="7" name="平行四边形 6"/>
          <p:cNvSpPr/>
          <p:nvPr/>
        </p:nvSpPr>
        <p:spPr>
          <a:xfrm>
            <a:off x="8976320" y="6099408"/>
            <a:ext cx="3119669" cy="648072"/>
          </a:xfrm>
          <a:prstGeom prst="parallelogram">
            <a:avLst/>
          </a:prstGeom>
          <a:solidFill>
            <a:srgbClr val="7C233E"/>
          </a:solidFill>
          <a:ln>
            <a:solidFill>
              <a:srgbClr val="7C233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8" name="平行四边形 7"/>
          <p:cNvSpPr/>
          <p:nvPr/>
        </p:nvSpPr>
        <p:spPr>
          <a:xfrm>
            <a:off x="239349" y="6432412"/>
            <a:ext cx="8640960" cy="315068"/>
          </a:xfrm>
          <a:prstGeom prst="parallelogram">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grpSp>
        <p:nvGrpSpPr>
          <p:cNvPr id="9" name="组合 14"/>
          <p:cNvGrpSpPr/>
          <p:nvPr/>
        </p:nvGrpSpPr>
        <p:grpSpPr>
          <a:xfrm>
            <a:off x="239349" y="275722"/>
            <a:ext cx="11809312" cy="648072"/>
            <a:chOff x="179512" y="548680"/>
            <a:chExt cx="8856984" cy="648072"/>
          </a:xfrm>
        </p:grpSpPr>
        <p:sp>
          <p:nvSpPr>
            <p:cNvPr id="10" name="平行四边形 9"/>
            <p:cNvSpPr/>
            <p:nvPr/>
          </p:nvSpPr>
          <p:spPr>
            <a:xfrm>
              <a:off x="179512" y="548680"/>
              <a:ext cx="648072" cy="648072"/>
            </a:xfrm>
            <a:prstGeom prst="parallelogram">
              <a:avLst/>
            </a:prstGeom>
            <a:solidFill>
              <a:srgbClr val="7C233E"/>
            </a:solidFill>
            <a:ln>
              <a:solidFill>
                <a:srgbClr val="7C233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11" name="平行四边形 10"/>
            <p:cNvSpPr/>
            <p:nvPr/>
          </p:nvSpPr>
          <p:spPr>
            <a:xfrm>
              <a:off x="827584" y="548680"/>
              <a:ext cx="8208912" cy="648072"/>
            </a:xfrm>
            <a:prstGeom prst="parallelogram">
              <a:avLst/>
            </a:prstGeom>
            <a:solidFill>
              <a:schemeClr val="bg1">
                <a:lumMod val="9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gr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7"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836086" y="284166"/>
            <a:ext cx="10477500" cy="841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p>
            <a:pPr lvl="0"/>
            <a:r>
              <a:rPr lang="en-US" noProof="0"/>
              <a:t>Cliquez pour modifier le style du titre</a:t>
            </a:r>
            <a:endParaRPr lang="en-US" noProof="0"/>
          </a:p>
        </p:txBody>
      </p:sp>
      <p:sp>
        <p:nvSpPr>
          <p:cNvPr id="1027" name="Rectangle 3"/>
          <p:cNvSpPr>
            <a:spLocks noGrp="1" noChangeArrowheads="1"/>
          </p:cNvSpPr>
          <p:nvPr>
            <p:ph type="body" idx="1"/>
          </p:nvPr>
        </p:nvSpPr>
        <p:spPr bwMode="auto">
          <a:xfrm>
            <a:off x="836086" y="1390650"/>
            <a:ext cx="10483849" cy="424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p>
            <a:pPr lvl="0"/>
            <a:r>
              <a:rPr lang="en-US" noProof="0"/>
              <a:t>Cliquez pour modifier les styles du texte du masque</a:t>
            </a:r>
            <a:endParaRPr lang="en-US" noProof="0"/>
          </a:p>
          <a:p>
            <a:pPr lvl="1"/>
            <a:r>
              <a:rPr lang="en-US" noProof="0"/>
              <a:t>Deuxième niveau</a:t>
            </a:r>
            <a:endParaRPr lang="en-US" noProof="0"/>
          </a:p>
          <a:p>
            <a:pPr lvl="2"/>
            <a:r>
              <a:rPr lang="en-US" noProof="0"/>
              <a:t>Troisième niveau</a:t>
            </a:r>
            <a:endParaRPr lang="en-US" noProof="0"/>
          </a:p>
          <a:p>
            <a:pPr lvl="3"/>
            <a:r>
              <a:rPr lang="en-US" noProof="0"/>
              <a:t>Quatrième niveau</a:t>
            </a:r>
            <a:endParaRPr lang="en-US" noProof="0"/>
          </a:p>
          <a:p>
            <a:pPr lvl="4"/>
            <a:r>
              <a:rPr lang="en-US" noProof="0"/>
              <a:t>Cinquième niveau</a:t>
            </a:r>
            <a:endParaRPr lang="en-US" noProof="0"/>
          </a:p>
        </p:txBody>
      </p:sp>
      <p:sp>
        <p:nvSpPr>
          <p:cNvPr id="3100" name="Rectangle 28"/>
          <p:cNvSpPr>
            <a:spLocks noGrp="1" noChangeArrowheads="1"/>
          </p:cNvSpPr>
          <p:nvPr>
            <p:ph type="ftr" sz="quarter" idx="3"/>
          </p:nvPr>
        </p:nvSpPr>
        <p:spPr bwMode="auto">
          <a:xfrm>
            <a:off x="6938433" y="6427791"/>
            <a:ext cx="3860800"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algn="r">
              <a:defRPr sz="800">
                <a:solidFill>
                  <a:srgbClr val="000000"/>
                </a:solidFill>
              </a:defRPr>
            </a:lvl1pPr>
          </a:lstStyle>
          <a:p>
            <a:pPr fontAlgn="base">
              <a:spcBef>
                <a:spcPct val="0"/>
              </a:spcBef>
              <a:spcAft>
                <a:spcPct val="0"/>
              </a:spcAft>
              <a:defRPr/>
            </a:pPr>
            <a:r>
              <a:rPr lang="en-US" dirty="0"/>
              <a:t>NAME OF PRESENTATION</a:t>
            </a:r>
            <a:endParaRPr lang="en-US" dirty="0"/>
          </a:p>
        </p:txBody>
      </p:sp>
      <p:sp>
        <p:nvSpPr>
          <p:cNvPr id="3112" name="Rectangle 40"/>
          <p:cNvSpPr>
            <a:spLocks noGrp="1" noChangeArrowheads="1"/>
          </p:cNvSpPr>
          <p:nvPr>
            <p:ph type="sldNum" sz="quarter" idx="4"/>
          </p:nvPr>
        </p:nvSpPr>
        <p:spPr bwMode="auto">
          <a:xfrm>
            <a:off x="10780184" y="6424613"/>
            <a:ext cx="643467" cy="23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algn="r">
              <a:defRPr sz="800">
                <a:solidFill>
                  <a:srgbClr val="000000"/>
                </a:solidFill>
              </a:defRPr>
            </a:lvl1pPr>
          </a:lstStyle>
          <a:p>
            <a:pPr fontAlgn="base">
              <a:spcBef>
                <a:spcPct val="0"/>
              </a:spcBef>
              <a:spcAft>
                <a:spcPct val="0"/>
              </a:spcAft>
              <a:defRPr/>
            </a:pPr>
            <a:r>
              <a:rPr lang="en-US" dirty="0"/>
              <a:t>|</a:t>
            </a:r>
            <a:r>
              <a:rPr lang="en-US" sz="900" baseline="16000" dirty="0"/>
              <a:t>         </a:t>
            </a:r>
            <a:fld id="{EE97F505-75A5-4035-9E64-281C0BA70D5E}" type="slidenum">
              <a:rPr lang="en-US" sz="900" baseline="16000" dirty="0"/>
            </a:fld>
            <a:endParaRPr lang="en-US" dirty="0"/>
          </a:p>
        </p:txBody>
      </p:sp>
      <p:pic>
        <p:nvPicPr>
          <p:cNvPr id="1030" name="Picture 45" descr="SANOFI_Logo_H_2011_Quadri copi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3753" y="6308728"/>
            <a:ext cx="211243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Lst>
  <p:hf hdr="0" dt="0"/>
  <p:txStyles>
    <p:titleStyle>
      <a:lvl1pPr algn="l" rtl="0" eaLnBrk="1" fontAlgn="base" latinLnBrk="1" hangingPunct="1">
        <a:lnSpc>
          <a:spcPct val="90000"/>
        </a:lnSpc>
        <a:spcBef>
          <a:spcPct val="0"/>
        </a:spcBef>
        <a:spcAft>
          <a:spcPct val="0"/>
        </a:spcAft>
        <a:defRPr sz="3000">
          <a:solidFill>
            <a:srgbClr val="989898"/>
          </a:solidFill>
          <a:latin typeface="+mj-lt"/>
          <a:ea typeface="+mj-ea"/>
          <a:cs typeface="+mj-cs"/>
        </a:defRPr>
      </a:lvl1pPr>
      <a:lvl2pPr algn="l" rtl="0" eaLnBrk="1" fontAlgn="base" latinLnBrk="1" hangingPunct="1">
        <a:lnSpc>
          <a:spcPct val="90000"/>
        </a:lnSpc>
        <a:spcBef>
          <a:spcPct val="0"/>
        </a:spcBef>
        <a:spcAft>
          <a:spcPct val="0"/>
        </a:spcAft>
        <a:defRPr sz="3000">
          <a:solidFill>
            <a:srgbClr val="989898"/>
          </a:solidFill>
          <a:latin typeface="Arial" panose="020B0604020202020204" pitchFamily="34" charset="0"/>
          <a:cs typeface="Arial" panose="020B0604020202020204" pitchFamily="34" charset="0"/>
        </a:defRPr>
      </a:lvl2pPr>
      <a:lvl3pPr algn="l" rtl="0" eaLnBrk="1" fontAlgn="base" latinLnBrk="1" hangingPunct="1">
        <a:lnSpc>
          <a:spcPct val="90000"/>
        </a:lnSpc>
        <a:spcBef>
          <a:spcPct val="0"/>
        </a:spcBef>
        <a:spcAft>
          <a:spcPct val="0"/>
        </a:spcAft>
        <a:defRPr sz="3000">
          <a:solidFill>
            <a:srgbClr val="989898"/>
          </a:solidFill>
          <a:latin typeface="Arial" panose="020B0604020202020204" pitchFamily="34" charset="0"/>
          <a:cs typeface="Arial" panose="020B0604020202020204" pitchFamily="34" charset="0"/>
        </a:defRPr>
      </a:lvl3pPr>
      <a:lvl4pPr algn="l" rtl="0" eaLnBrk="1" fontAlgn="base" latinLnBrk="1" hangingPunct="1">
        <a:lnSpc>
          <a:spcPct val="90000"/>
        </a:lnSpc>
        <a:spcBef>
          <a:spcPct val="0"/>
        </a:spcBef>
        <a:spcAft>
          <a:spcPct val="0"/>
        </a:spcAft>
        <a:defRPr sz="3000">
          <a:solidFill>
            <a:srgbClr val="989898"/>
          </a:solidFill>
          <a:latin typeface="Arial" panose="020B0604020202020204" pitchFamily="34" charset="0"/>
          <a:cs typeface="Arial" panose="020B0604020202020204" pitchFamily="34" charset="0"/>
        </a:defRPr>
      </a:lvl4pPr>
      <a:lvl5pPr algn="l" rtl="0" eaLnBrk="1" fontAlgn="base" latinLnBrk="1" hangingPunct="1">
        <a:lnSpc>
          <a:spcPct val="90000"/>
        </a:lnSpc>
        <a:spcBef>
          <a:spcPct val="0"/>
        </a:spcBef>
        <a:spcAft>
          <a:spcPct val="0"/>
        </a:spcAft>
        <a:defRPr sz="3000">
          <a:solidFill>
            <a:srgbClr val="989898"/>
          </a:solidFill>
          <a:latin typeface="Arial" panose="020B0604020202020204" pitchFamily="34" charset="0"/>
          <a:cs typeface="Arial" panose="020B0604020202020204" pitchFamily="34" charset="0"/>
        </a:defRPr>
      </a:lvl5pPr>
      <a:lvl6pPr marL="457200" algn="l" rtl="0" eaLnBrk="1" fontAlgn="base" latinLnBrk="1" hangingPunct="1">
        <a:lnSpc>
          <a:spcPct val="90000"/>
        </a:lnSpc>
        <a:spcBef>
          <a:spcPct val="0"/>
        </a:spcBef>
        <a:spcAft>
          <a:spcPct val="0"/>
        </a:spcAft>
        <a:defRPr sz="3000">
          <a:solidFill>
            <a:srgbClr val="989898"/>
          </a:solidFill>
          <a:latin typeface="Arial" panose="020B0604020202020204" pitchFamily="34" charset="0"/>
          <a:cs typeface="Arial" panose="020B0604020202020204" pitchFamily="34" charset="0"/>
        </a:defRPr>
      </a:lvl6pPr>
      <a:lvl7pPr marL="914400" algn="l" rtl="0" eaLnBrk="1" fontAlgn="base" latinLnBrk="1" hangingPunct="1">
        <a:lnSpc>
          <a:spcPct val="90000"/>
        </a:lnSpc>
        <a:spcBef>
          <a:spcPct val="0"/>
        </a:spcBef>
        <a:spcAft>
          <a:spcPct val="0"/>
        </a:spcAft>
        <a:defRPr sz="3000">
          <a:solidFill>
            <a:srgbClr val="989898"/>
          </a:solidFill>
          <a:latin typeface="Arial" panose="020B0604020202020204" pitchFamily="34" charset="0"/>
          <a:cs typeface="Arial" panose="020B0604020202020204" pitchFamily="34" charset="0"/>
        </a:defRPr>
      </a:lvl7pPr>
      <a:lvl8pPr marL="1371600" algn="l" rtl="0" eaLnBrk="1" fontAlgn="base" latinLnBrk="1" hangingPunct="1">
        <a:lnSpc>
          <a:spcPct val="90000"/>
        </a:lnSpc>
        <a:spcBef>
          <a:spcPct val="0"/>
        </a:spcBef>
        <a:spcAft>
          <a:spcPct val="0"/>
        </a:spcAft>
        <a:defRPr sz="3000">
          <a:solidFill>
            <a:srgbClr val="989898"/>
          </a:solidFill>
          <a:latin typeface="Arial" panose="020B0604020202020204" pitchFamily="34" charset="0"/>
          <a:cs typeface="Arial" panose="020B0604020202020204" pitchFamily="34" charset="0"/>
        </a:defRPr>
      </a:lvl8pPr>
      <a:lvl9pPr marL="1828800" algn="l" rtl="0" eaLnBrk="1" fontAlgn="base" latinLnBrk="1" hangingPunct="1">
        <a:lnSpc>
          <a:spcPct val="90000"/>
        </a:lnSpc>
        <a:spcBef>
          <a:spcPct val="0"/>
        </a:spcBef>
        <a:spcAft>
          <a:spcPct val="0"/>
        </a:spcAft>
        <a:defRPr sz="3000">
          <a:solidFill>
            <a:srgbClr val="989898"/>
          </a:solidFill>
          <a:latin typeface="Arial" panose="020B0604020202020204" pitchFamily="34" charset="0"/>
          <a:cs typeface="Arial" panose="020B0604020202020204" pitchFamily="34" charset="0"/>
        </a:defRPr>
      </a:lvl9pPr>
    </p:titleStyle>
    <p:bodyStyle>
      <a:lvl1pPr marL="342900" indent="-342900" algn="l" rtl="0" eaLnBrk="1" fontAlgn="base" latinLnBrk="1" hangingPunct="1">
        <a:spcBef>
          <a:spcPct val="20000"/>
        </a:spcBef>
        <a:spcAft>
          <a:spcPct val="0"/>
        </a:spcAft>
        <a:buClr>
          <a:schemeClr val="bg2"/>
        </a:buClr>
        <a:buSzPct val="130000"/>
        <a:buFont typeface="Verdana" panose="020B0604030504040204" pitchFamily="34" charset="0"/>
        <a:buChar char="●"/>
        <a:defRPr>
          <a:solidFill>
            <a:schemeClr val="tx1"/>
          </a:solidFill>
          <a:latin typeface="+mn-lt"/>
          <a:ea typeface="+mn-ea"/>
          <a:cs typeface="+mn-cs"/>
        </a:defRPr>
      </a:lvl1pPr>
      <a:lvl2pPr marL="742950" indent="-285750" algn="l" rtl="0" eaLnBrk="1" fontAlgn="base" latinLnBrk="1" hangingPunct="1">
        <a:spcBef>
          <a:spcPct val="20000"/>
        </a:spcBef>
        <a:spcAft>
          <a:spcPct val="0"/>
        </a:spcAft>
        <a:buClr>
          <a:schemeClr val="tx1"/>
        </a:buClr>
        <a:buFont typeface="Verdana" panose="020B0604030504040204" pitchFamily="34" charset="0"/>
        <a:buChar char="●"/>
        <a:defRPr sz="1600" b="1">
          <a:solidFill>
            <a:srgbClr val="989898"/>
          </a:solidFill>
          <a:latin typeface="+mn-lt"/>
          <a:cs typeface="+mn-cs"/>
        </a:defRPr>
      </a:lvl2pPr>
      <a:lvl3pPr marL="1143000" indent="-228600" algn="l" rtl="0" eaLnBrk="1" fontAlgn="base" latinLnBrk="1" hangingPunct="1">
        <a:spcBef>
          <a:spcPct val="20000"/>
        </a:spcBef>
        <a:spcAft>
          <a:spcPct val="0"/>
        </a:spcAft>
        <a:buClr>
          <a:schemeClr val="hlink"/>
        </a:buClr>
        <a:buChar char="•"/>
        <a:defRPr sz="1600">
          <a:solidFill>
            <a:srgbClr val="989898"/>
          </a:solidFill>
          <a:latin typeface="+mn-lt"/>
          <a:cs typeface="+mn-cs"/>
        </a:defRPr>
      </a:lvl3pPr>
      <a:lvl4pPr marL="1600200" indent="-228600" algn="l" rtl="0" eaLnBrk="1" fontAlgn="base" latinLnBrk="1" hangingPunct="1">
        <a:spcBef>
          <a:spcPct val="20000"/>
        </a:spcBef>
        <a:spcAft>
          <a:spcPct val="0"/>
        </a:spcAft>
        <a:buClr>
          <a:schemeClr val="accent2"/>
        </a:buClr>
        <a:buChar char="•"/>
        <a:defRPr sz="1600">
          <a:solidFill>
            <a:srgbClr val="989898"/>
          </a:solidFill>
          <a:latin typeface="+mn-lt"/>
          <a:cs typeface="+mn-cs"/>
        </a:defRPr>
      </a:lvl4pPr>
      <a:lvl5pPr marL="2057400" indent="-228600" algn="l" rtl="0" eaLnBrk="1" fontAlgn="base" latinLnBrk="1" hangingPunct="1">
        <a:spcBef>
          <a:spcPct val="20000"/>
        </a:spcBef>
        <a:spcAft>
          <a:spcPct val="0"/>
        </a:spcAft>
        <a:buClr>
          <a:schemeClr val="accent2"/>
        </a:buClr>
        <a:buChar char="•"/>
        <a:defRPr sz="1600">
          <a:solidFill>
            <a:srgbClr val="989898"/>
          </a:solidFill>
          <a:latin typeface="+mn-lt"/>
          <a:cs typeface="+mn-cs"/>
        </a:defRPr>
      </a:lvl5pPr>
      <a:lvl6pPr marL="2514600" indent="-228600" algn="l" rtl="0" eaLnBrk="1" fontAlgn="base" latinLnBrk="1" hangingPunct="1">
        <a:spcBef>
          <a:spcPct val="20000"/>
        </a:spcBef>
        <a:spcAft>
          <a:spcPct val="0"/>
        </a:spcAft>
        <a:buClr>
          <a:schemeClr val="accent2"/>
        </a:buClr>
        <a:buChar char="•"/>
        <a:defRPr sz="1600">
          <a:solidFill>
            <a:srgbClr val="989898"/>
          </a:solidFill>
          <a:latin typeface="+mn-lt"/>
          <a:cs typeface="+mn-cs"/>
        </a:defRPr>
      </a:lvl6pPr>
      <a:lvl7pPr marL="2971800" indent="-228600" algn="l" rtl="0" eaLnBrk="1" fontAlgn="base" latinLnBrk="1" hangingPunct="1">
        <a:spcBef>
          <a:spcPct val="20000"/>
        </a:spcBef>
        <a:spcAft>
          <a:spcPct val="0"/>
        </a:spcAft>
        <a:buClr>
          <a:schemeClr val="accent2"/>
        </a:buClr>
        <a:buChar char="•"/>
        <a:defRPr sz="1600">
          <a:solidFill>
            <a:srgbClr val="989898"/>
          </a:solidFill>
          <a:latin typeface="+mn-lt"/>
          <a:cs typeface="+mn-cs"/>
        </a:defRPr>
      </a:lvl7pPr>
      <a:lvl8pPr marL="3429000" indent="-228600" algn="l" rtl="0" eaLnBrk="1" fontAlgn="base" latinLnBrk="1" hangingPunct="1">
        <a:spcBef>
          <a:spcPct val="20000"/>
        </a:spcBef>
        <a:spcAft>
          <a:spcPct val="0"/>
        </a:spcAft>
        <a:buClr>
          <a:schemeClr val="accent2"/>
        </a:buClr>
        <a:buChar char="•"/>
        <a:defRPr sz="1600">
          <a:solidFill>
            <a:srgbClr val="989898"/>
          </a:solidFill>
          <a:latin typeface="+mn-lt"/>
          <a:cs typeface="+mn-cs"/>
        </a:defRPr>
      </a:lvl8pPr>
      <a:lvl9pPr marL="3886200" indent="-228600" algn="l" rtl="0" eaLnBrk="1" fontAlgn="base" latinLnBrk="1" hangingPunct="1">
        <a:spcBef>
          <a:spcPct val="20000"/>
        </a:spcBef>
        <a:spcAft>
          <a:spcPct val="0"/>
        </a:spcAft>
        <a:buClr>
          <a:schemeClr val="accent2"/>
        </a:buClr>
        <a:buChar char="•"/>
        <a:defRPr sz="1600">
          <a:solidFill>
            <a:srgbClr val="989898"/>
          </a:solidFill>
          <a:latin typeface="+mn-lt"/>
          <a:cs typeface="+mn-cs"/>
        </a:defRPr>
      </a:lvl9pPr>
    </p:bodyStyle>
    <p:otherStyle>
      <a:defPPr>
        <a:defRPr lang="fr-F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rgbClr val="002060"/>
        </a:solidFill>
        <a:effectLst/>
      </p:bgPr>
    </p:bg>
    <p:spTree>
      <p:nvGrpSpPr>
        <p:cNvPr id="1" name=""/>
        <p:cNvGrpSpPr/>
        <p:nvPr/>
      </p:nvGrpSpPr>
      <p:grpSpPr>
        <a:xfrm>
          <a:off x="0" y="0"/>
          <a:ext cx="0" cy="0"/>
          <a:chOff x="0" y="0"/>
          <a:chExt cx="0" cy="0"/>
        </a:xfrm>
      </p:grpSpPr>
      <p:sp>
        <p:nvSpPr>
          <p:cNvPr id="6146" name="Rectangle 2"/>
          <p:cNvSpPr>
            <a:spLocks noChangeArrowheads="1"/>
          </p:cNvSpPr>
          <p:nvPr/>
        </p:nvSpPr>
        <p:spPr bwMode="auto">
          <a:xfrm>
            <a:off x="0" y="0"/>
            <a:ext cx="12192000" cy="1371600"/>
          </a:xfrm>
          <a:prstGeom prst="rect">
            <a:avLst/>
          </a:prstGeom>
          <a:gradFill rotWithShape="0">
            <a:gsLst>
              <a:gs pos="0">
                <a:srgbClr val="040B1A"/>
              </a:gs>
              <a:gs pos="100000">
                <a:srgbClr val="112F75">
                  <a:alpha val="0"/>
                </a:srgbClr>
              </a:gs>
            </a:gsLst>
            <a:lin ang="0" scaled="1"/>
          </a:gradFill>
          <a:ln>
            <a:noFill/>
          </a:ln>
        </p:spPr>
        <p:txBody>
          <a:bodyPr wrap="none" anchor="ctr"/>
          <a:lstStyle>
            <a:lvl1pPr eaLnBrk="0" hangingPunct="0">
              <a:defRPr>
                <a:solidFill>
                  <a:srgbClr val="FFFF00"/>
                </a:solidFill>
                <a:latin typeface="Arial" panose="020B0604020202020204" pitchFamily="34" charset="0"/>
                <a:cs typeface="Arial" panose="020B0604020202020204" pitchFamily="34" charset="0"/>
              </a:defRPr>
            </a:lvl1pPr>
            <a:lvl2pPr marL="742950" indent="-285750" eaLnBrk="0" hangingPunct="0">
              <a:defRPr>
                <a:solidFill>
                  <a:srgbClr val="FFFF00"/>
                </a:solidFill>
                <a:latin typeface="Arial" panose="020B0604020202020204" pitchFamily="34" charset="0"/>
                <a:cs typeface="Arial" panose="020B0604020202020204" pitchFamily="34" charset="0"/>
              </a:defRPr>
            </a:lvl2pPr>
            <a:lvl3pPr marL="1143000" indent="-228600" eaLnBrk="0" hangingPunct="0">
              <a:defRPr>
                <a:solidFill>
                  <a:srgbClr val="FFFF00"/>
                </a:solidFill>
                <a:latin typeface="Arial" panose="020B0604020202020204" pitchFamily="34" charset="0"/>
                <a:cs typeface="Arial" panose="020B0604020202020204" pitchFamily="34" charset="0"/>
              </a:defRPr>
            </a:lvl3pPr>
            <a:lvl4pPr marL="1600200" indent="-228600" eaLnBrk="0" hangingPunct="0">
              <a:defRPr>
                <a:solidFill>
                  <a:srgbClr val="FFFF00"/>
                </a:solidFill>
                <a:latin typeface="Arial" panose="020B0604020202020204" pitchFamily="34" charset="0"/>
                <a:cs typeface="Arial" panose="020B0604020202020204" pitchFamily="34" charset="0"/>
              </a:defRPr>
            </a:lvl4pPr>
            <a:lvl5pPr marL="2057400" indent="-228600" eaLnBrk="0" hangingPunct="0">
              <a:defRPr>
                <a:solidFill>
                  <a:srgbClr val="FFFF00"/>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a:solidFill>
                  <a:srgbClr val="FFFF00"/>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a:solidFill>
                  <a:srgbClr val="FFFF00"/>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a:solidFill>
                  <a:srgbClr val="FFFF00"/>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a:solidFill>
                  <a:srgbClr val="FFFF00"/>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endParaRPr lang="zh-CN" altLang="en-US" b="1"/>
          </a:p>
        </p:txBody>
      </p:sp>
      <p:sp>
        <p:nvSpPr>
          <p:cNvPr id="6147" name="Rectangle 3"/>
          <p:cNvSpPr>
            <a:spLocks noGrp="1" noChangeArrowheads="1"/>
          </p:cNvSpPr>
          <p:nvPr>
            <p:ph type="title" idx="4294967295"/>
          </p:nvPr>
        </p:nvSpPr>
        <p:spPr bwMode="auto">
          <a:xfrm>
            <a:off x="372533" y="44450"/>
            <a:ext cx="11176000" cy="1295400"/>
          </a:xfrm>
          <a:prstGeom prst="rect">
            <a:avLst/>
          </a:prstGeom>
          <a:noFill/>
          <a:ln w="9525">
            <a:noFill/>
            <a:miter lim="800000"/>
          </a:ln>
        </p:spPr>
        <p:txBody>
          <a:bodyPr vert="horz" wrap="square" lIns="91440" tIns="45720" rIns="91440" bIns="45720" numCol="1" anchor="b" anchorCtr="0" compatLnSpc="1"/>
          <a:lstStyle/>
          <a:p>
            <a:pPr lvl="0"/>
            <a:r>
              <a:rPr lang="zh-CN" altLang="en-US"/>
              <a:t>单击此处编辑母版标题样式</a:t>
            </a:r>
            <a:endParaRPr lang="en-US" altLang="zh-CN"/>
          </a:p>
        </p:txBody>
      </p:sp>
      <p:sp>
        <p:nvSpPr>
          <p:cNvPr id="6148" name="Rectangle 4"/>
          <p:cNvSpPr>
            <a:spLocks noGrp="1" noChangeArrowheads="1"/>
          </p:cNvSpPr>
          <p:nvPr>
            <p:ph type="body" idx="9"/>
          </p:nvPr>
        </p:nvSpPr>
        <p:spPr bwMode="auto">
          <a:xfrm>
            <a:off x="393700" y="1676400"/>
            <a:ext cx="11074400" cy="4419600"/>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altLang="zh-CN"/>
          </a:p>
        </p:txBody>
      </p:sp>
      <p:sp>
        <p:nvSpPr>
          <p:cNvPr id="6149" name="Line 5"/>
          <p:cNvSpPr>
            <a:spLocks noChangeShapeType="1"/>
          </p:cNvSpPr>
          <p:nvPr/>
        </p:nvSpPr>
        <p:spPr bwMode="auto">
          <a:xfrm>
            <a:off x="0" y="1385888"/>
            <a:ext cx="12192000" cy="0"/>
          </a:xfrm>
          <a:prstGeom prst="line">
            <a:avLst/>
          </a:prstGeom>
          <a:noFill/>
          <a:ln w="50800">
            <a:solidFill>
              <a:srgbClr val="EC008C"/>
            </a:solidFill>
            <a:round/>
          </a:ln>
        </p:spPr>
        <p:txBody>
          <a:bodyPr/>
          <a:lstStyle/>
          <a:p>
            <a:pPr algn="ctr" fontAlgn="base">
              <a:spcBef>
                <a:spcPct val="0"/>
              </a:spcBef>
              <a:spcAft>
                <a:spcPct val="0"/>
              </a:spcAft>
              <a:defRPr/>
            </a:pPr>
            <a:endParaRPr lang="zh-CN" altLang="en-US">
              <a:solidFill>
                <a:srgbClr val="FFFF00"/>
              </a:solidFill>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Lst>
  <p:txStyles>
    <p:titleStyle>
      <a:lvl1pPr algn="l" rtl="0" eaLnBrk="1" fontAlgn="base" hangingPunct="1">
        <a:spcBef>
          <a:spcPct val="0"/>
        </a:spcBef>
        <a:spcAft>
          <a:spcPct val="0"/>
        </a:spcAft>
        <a:defRPr sz="3200" b="1">
          <a:solidFill>
            <a:schemeClr val="bg1"/>
          </a:solidFill>
          <a:latin typeface="Arial" panose="020B0604020202020204" pitchFamily="34" charset="0"/>
          <a:ea typeface="微软雅黑" panose="020B0503020204020204" charset="-122"/>
          <a:cs typeface="+mj-cs"/>
        </a:defRPr>
      </a:lvl1pPr>
      <a:lvl2pPr algn="l" rtl="0" eaLnBrk="1" fontAlgn="base" hangingPunct="1">
        <a:spcBef>
          <a:spcPct val="0"/>
        </a:spcBef>
        <a:spcAft>
          <a:spcPct val="0"/>
        </a:spcAft>
        <a:defRPr sz="3200" b="1">
          <a:solidFill>
            <a:schemeClr val="bg1"/>
          </a:solidFill>
          <a:latin typeface="Arial" panose="020B0604020202020204" pitchFamily="34" charset="0"/>
          <a:ea typeface="微软雅黑" panose="020B0503020204020204" charset="-122"/>
          <a:cs typeface="Arial" panose="020B0604020202020204" pitchFamily="34" charset="0"/>
        </a:defRPr>
      </a:lvl2pPr>
      <a:lvl3pPr algn="l" rtl="0" eaLnBrk="1" fontAlgn="base" hangingPunct="1">
        <a:spcBef>
          <a:spcPct val="0"/>
        </a:spcBef>
        <a:spcAft>
          <a:spcPct val="0"/>
        </a:spcAft>
        <a:defRPr sz="3200" b="1">
          <a:solidFill>
            <a:schemeClr val="bg1"/>
          </a:solidFill>
          <a:latin typeface="Arial" panose="020B0604020202020204" pitchFamily="34" charset="0"/>
          <a:ea typeface="微软雅黑" panose="020B0503020204020204" charset="-122"/>
          <a:cs typeface="Arial" panose="020B0604020202020204" pitchFamily="34" charset="0"/>
        </a:defRPr>
      </a:lvl3pPr>
      <a:lvl4pPr algn="l" rtl="0" eaLnBrk="1" fontAlgn="base" hangingPunct="1">
        <a:spcBef>
          <a:spcPct val="0"/>
        </a:spcBef>
        <a:spcAft>
          <a:spcPct val="0"/>
        </a:spcAft>
        <a:defRPr sz="3200" b="1">
          <a:solidFill>
            <a:schemeClr val="bg1"/>
          </a:solidFill>
          <a:latin typeface="Arial" panose="020B0604020202020204" pitchFamily="34" charset="0"/>
          <a:ea typeface="微软雅黑" panose="020B0503020204020204" charset="-122"/>
          <a:cs typeface="Arial" panose="020B0604020202020204" pitchFamily="34" charset="0"/>
        </a:defRPr>
      </a:lvl4pPr>
      <a:lvl5pPr algn="l" rtl="0" eaLnBrk="1" fontAlgn="base" hangingPunct="1">
        <a:spcBef>
          <a:spcPct val="0"/>
        </a:spcBef>
        <a:spcAft>
          <a:spcPct val="0"/>
        </a:spcAft>
        <a:defRPr sz="3200" b="1">
          <a:solidFill>
            <a:schemeClr val="bg1"/>
          </a:solidFill>
          <a:latin typeface="Arial" panose="020B0604020202020204" pitchFamily="34" charset="0"/>
          <a:ea typeface="微软雅黑" panose="020B0503020204020204" charset="-122"/>
          <a:cs typeface="Arial" panose="020B0604020202020204" pitchFamily="34" charset="0"/>
        </a:defRPr>
      </a:lvl5pPr>
      <a:lvl6pPr marL="457200" algn="l" rtl="0" eaLnBrk="1" fontAlgn="base" hangingPunct="1">
        <a:spcBef>
          <a:spcPct val="0"/>
        </a:spcBef>
        <a:spcAft>
          <a:spcPct val="0"/>
        </a:spcAft>
        <a:defRPr sz="3200">
          <a:solidFill>
            <a:schemeClr val="bg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3200">
          <a:solidFill>
            <a:schemeClr val="bg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3200">
          <a:solidFill>
            <a:schemeClr val="bg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3200">
          <a:solidFill>
            <a:schemeClr val="bg1"/>
          </a:solidFill>
          <a:latin typeface="Arial" panose="020B0604020202020204" pitchFamily="34" charset="0"/>
          <a:cs typeface="Arial" panose="020B0604020202020204" pitchFamily="34" charset="0"/>
        </a:defRPr>
      </a:lvl9pPr>
    </p:titleStyle>
    <p:bodyStyle>
      <a:lvl1pPr marL="342900" indent="-342900" algn="l" rtl="0" eaLnBrk="1" fontAlgn="base" hangingPunct="1">
        <a:spcBef>
          <a:spcPct val="0"/>
        </a:spcBef>
        <a:spcAft>
          <a:spcPct val="35000"/>
        </a:spcAft>
        <a:buClr>
          <a:srgbClr val="EC008C"/>
        </a:buClr>
        <a:buChar char="•"/>
        <a:defRPr sz="2400" b="1">
          <a:solidFill>
            <a:schemeClr val="bg1"/>
          </a:solidFill>
          <a:latin typeface="Arial" panose="020B0604020202020204" pitchFamily="34" charset="0"/>
          <a:ea typeface="微软雅黑" panose="020B0503020204020204" charset="-122"/>
          <a:cs typeface="+mn-cs"/>
        </a:defRPr>
      </a:lvl1pPr>
      <a:lvl2pPr marL="742950" indent="-285750" algn="l" rtl="0" eaLnBrk="1" fontAlgn="base" hangingPunct="1">
        <a:spcBef>
          <a:spcPct val="0"/>
        </a:spcBef>
        <a:spcAft>
          <a:spcPct val="35000"/>
        </a:spcAft>
        <a:buClr>
          <a:srgbClr val="EC008C"/>
        </a:buClr>
        <a:buChar char="–"/>
        <a:defRPr sz="2000" b="1">
          <a:solidFill>
            <a:schemeClr val="bg1"/>
          </a:solidFill>
          <a:latin typeface="Arial" panose="020B0604020202020204" pitchFamily="34" charset="0"/>
          <a:ea typeface="微软雅黑" panose="020B0503020204020204" charset="-122"/>
          <a:cs typeface="+mn-cs"/>
        </a:defRPr>
      </a:lvl2pPr>
      <a:lvl3pPr marL="1143000" indent="-228600" algn="l" rtl="0" eaLnBrk="1" fontAlgn="base" hangingPunct="1">
        <a:spcBef>
          <a:spcPct val="0"/>
        </a:spcBef>
        <a:spcAft>
          <a:spcPct val="35000"/>
        </a:spcAft>
        <a:buClr>
          <a:srgbClr val="EC008C"/>
        </a:buClr>
        <a:buChar char="•"/>
        <a:defRPr sz="2400" b="1">
          <a:solidFill>
            <a:schemeClr val="bg1"/>
          </a:solidFill>
          <a:latin typeface="Arial" panose="020B0604020202020204" pitchFamily="34" charset="0"/>
          <a:ea typeface="微软雅黑" panose="020B0503020204020204" charset="-122"/>
          <a:cs typeface="+mn-cs"/>
        </a:defRPr>
      </a:lvl3pPr>
      <a:lvl4pPr marL="1600200" indent="-228600" algn="l" rtl="0" eaLnBrk="1" fontAlgn="base" hangingPunct="1">
        <a:spcBef>
          <a:spcPct val="0"/>
        </a:spcBef>
        <a:spcAft>
          <a:spcPct val="35000"/>
        </a:spcAft>
        <a:buClr>
          <a:srgbClr val="EC008C"/>
        </a:buClr>
        <a:buChar char="–"/>
        <a:defRPr sz="1600" b="1">
          <a:solidFill>
            <a:schemeClr val="bg1"/>
          </a:solidFill>
          <a:latin typeface="Arial" panose="020B0604020202020204" pitchFamily="34" charset="0"/>
          <a:ea typeface="微软雅黑" panose="020B0503020204020204" charset="-122"/>
          <a:cs typeface="+mn-cs"/>
        </a:defRPr>
      </a:lvl4pPr>
      <a:lvl5pPr marL="2057400" indent="-228600" algn="l" rtl="0" eaLnBrk="1" fontAlgn="base" hangingPunct="1">
        <a:spcBef>
          <a:spcPct val="0"/>
        </a:spcBef>
        <a:spcAft>
          <a:spcPct val="35000"/>
        </a:spcAft>
        <a:buClr>
          <a:srgbClr val="EC008C"/>
        </a:buClr>
        <a:buChar char="»"/>
        <a:defRPr sz="1600" b="1">
          <a:solidFill>
            <a:schemeClr val="bg1"/>
          </a:solidFill>
          <a:latin typeface="Arial" panose="020B0604020202020204" pitchFamily="34" charset="0"/>
          <a:ea typeface="微软雅黑" panose="020B0503020204020204" charset="-122"/>
          <a:cs typeface="+mn-cs"/>
        </a:defRPr>
      </a:lvl5pPr>
      <a:lvl6pPr marL="2514600" indent="-228600" algn="l" rtl="0" eaLnBrk="1" fontAlgn="base" hangingPunct="1">
        <a:spcBef>
          <a:spcPct val="0"/>
        </a:spcBef>
        <a:spcAft>
          <a:spcPct val="35000"/>
        </a:spcAft>
        <a:buClr>
          <a:srgbClr val="EC008C"/>
        </a:buClr>
        <a:buChar char="»"/>
        <a:defRPr sz="1600">
          <a:solidFill>
            <a:schemeClr val="bg1"/>
          </a:solidFill>
          <a:latin typeface="+mn-lt"/>
          <a:cs typeface="+mn-cs"/>
        </a:defRPr>
      </a:lvl6pPr>
      <a:lvl7pPr marL="2971800" indent="-228600" algn="l" rtl="0" eaLnBrk="1" fontAlgn="base" hangingPunct="1">
        <a:spcBef>
          <a:spcPct val="0"/>
        </a:spcBef>
        <a:spcAft>
          <a:spcPct val="35000"/>
        </a:spcAft>
        <a:buClr>
          <a:srgbClr val="EC008C"/>
        </a:buClr>
        <a:buChar char="»"/>
        <a:defRPr sz="1600">
          <a:solidFill>
            <a:schemeClr val="bg1"/>
          </a:solidFill>
          <a:latin typeface="+mn-lt"/>
          <a:cs typeface="+mn-cs"/>
        </a:defRPr>
      </a:lvl7pPr>
      <a:lvl8pPr marL="3429000" indent="-228600" algn="l" rtl="0" eaLnBrk="1" fontAlgn="base" hangingPunct="1">
        <a:spcBef>
          <a:spcPct val="0"/>
        </a:spcBef>
        <a:spcAft>
          <a:spcPct val="35000"/>
        </a:spcAft>
        <a:buClr>
          <a:srgbClr val="EC008C"/>
        </a:buClr>
        <a:buChar char="»"/>
        <a:defRPr sz="1600">
          <a:solidFill>
            <a:schemeClr val="bg1"/>
          </a:solidFill>
          <a:latin typeface="+mn-lt"/>
          <a:cs typeface="+mn-cs"/>
        </a:defRPr>
      </a:lvl8pPr>
      <a:lvl9pPr marL="3886200" indent="-228600" algn="l" rtl="0" eaLnBrk="1" fontAlgn="base" hangingPunct="1">
        <a:spcBef>
          <a:spcPct val="0"/>
        </a:spcBef>
        <a:spcAft>
          <a:spcPct val="35000"/>
        </a:spcAft>
        <a:buClr>
          <a:srgbClr val="EC008C"/>
        </a:buClr>
        <a:buChar char="»"/>
        <a:defRPr sz="1600">
          <a:solidFill>
            <a:schemeClr val="bg1"/>
          </a:solidFill>
          <a:latin typeface="+mn-lt"/>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483C31-8432-46A4-BB60-EE0113C11634}" type="datetimeFigureOut">
              <a:rPr lang="zh-CN" altLang="en-US" smtClean="0"/>
            </a:fld>
            <a:endParaRPr lang="zh-CN" altLang="en-US"/>
          </a:p>
        </p:txBody>
      </p:sp>
      <p:sp>
        <p:nvSpPr>
          <p:cNvPr id="5" name="页脚占位符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7600" y="635635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8E7D9A4-471F-4305-9FB6-E60A7E168AD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715" r:id="rId1"/>
  </p:sldLayoutIdLst>
  <p:txStyles>
    <p:titleStyle/>
    <p:bodyStyle/>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fld>
            <a:endParaRPr lang="zh-CN" alt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fld>
            <a:endParaRPr lang="zh-CN" altLang="en-US"/>
          </a:p>
        </p:txBody>
      </p:sp>
      <p:sp>
        <p:nvSpPr>
          <p:cNvPr id="7" name="平行四边形 6"/>
          <p:cNvSpPr/>
          <p:nvPr/>
        </p:nvSpPr>
        <p:spPr>
          <a:xfrm>
            <a:off x="8976320" y="6099408"/>
            <a:ext cx="3119669" cy="648072"/>
          </a:xfrm>
          <a:prstGeom prst="parallelogram">
            <a:avLst/>
          </a:prstGeom>
          <a:solidFill>
            <a:srgbClr val="7C233E"/>
          </a:solidFill>
          <a:ln>
            <a:solidFill>
              <a:srgbClr val="7C233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8" name="平行四边形 7"/>
          <p:cNvSpPr/>
          <p:nvPr/>
        </p:nvSpPr>
        <p:spPr>
          <a:xfrm>
            <a:off x="239349" y="6432412"/>
            <a:ext cx="8640960" cy="315068"/>
          </a:xfrm>
          <a:prstGeom prst="parallelogram">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grpSp>
        <p:nvGrpSpPr>
          <p:cNvPr id="9" name="组合 14"/>
          <p:cNvGrpSpPr/>
          <p:nvPr/>
        </p:nvGrpSpPr>
        <p:grpSpPr>
          <a:xfrm>
            <a:off x="239349" y="275722"/>
            <a:ext cx="11809312" cy="648072"/>
            <a:chOff x="179512" y="548680"/>
            <a:chExt cx="8856984" cy="648072"/>
          </a:xfrm>
        </p:grpSpPr>
        <p:sp>
          <p:nvSpPr>
            <p:cNvPr id="10" name="平行四边形 9"/>
            <p:cNvSpPr/>
            <p:nvPr/>
          </p:nvSpPr>
          <p:spPr>
            <a:xfrm>
              <a:off x="179512" y="548680"/>
              <a:ext cx="648072" cy="648072"/>
            </a:xfrm>
            <a:prstGeom prst="parallelogram">
              <a:avLst/>
            </a:prstGeom>
            <a:solidFill>
              <a:srgbClr val="7C233E"/>
            </a:solidFill>
            <a:ln>
              <a:solidFill>
                <a:srgbClr val="7C233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11" name="平行四边形 10"/>
            <p:cNvSpPr/>
            <p:nvPr/>
          </p:nvSpPr>
          <p:spPr>
            <a:xfrm>
              <a:off x="827584" y="548680"/>
              <a:ext cx="8208912" cy="648072"/>
            </a:xfrm>
            <a:prstGeom prst="parallelogram">
              <a:avLst/>
            </a:prstGeom>
            <a:solidFill>
              <a:schemeClr val="bg1">
                <a:lumMod val="9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grpSp>
    </p:spTree>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image" Target="../media/image14.png"/><Relationship Id="rId1" Type="http://schemas.openxmlformats.org/officeDocument/2006/relationships/image" Target="../media/image1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25.png"/><Relationship Id="rId1" Type="http://schemas.openxmlformats.org/officeDocument/2006/relationships/image" Target="../media/image24.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28.png"/><Relationship Id="rId1" Type="http://schemas.openxmlformats.org/officeDocument/2006/relationships/image" Target="../media/image27.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29.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slideLayout" Target="../slideLayouts/slideLayout21.xml"/><Relationship Id="rId3" Type="http://schemas.openxmlformats.org/officeDocument/2006/relationships/image" Target="../media/image15.emf"/><Relationship Id="rId2" Type="http://schemas.openxmlformats.org/officeDocument/2006/relationships/oleObject" Target="../embeddings/oleObject1.bin"/><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xml"/><Relationship Id="rId1" Type="http://schemas.openxmlformats.org/officeDocument/2006/relationships/chart" Target="../charts/chart1.xml"/></Relationships>
</file>

<file path=ppt/slides/_rels/slide21.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27.xml"/><Relationship Id="rId4" Type="http://schemas.openxmlformats.org/officeDocument/2006/relationships/tags" Target="../tags/tag3.xml"/><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chart" Target="../charts/char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3.xml"/><Relationship Id="rId1" Type="http://schemas.openxmlformats.org/officeDocument/2006/relationships/tags" Target="../tags/tag4.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33.jpeg"/><Relationship Id="rId1" Type="http://schemas.openxmlformats.org/officeDocument/2006/relationships/image" Target="../media/image32.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4.pn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xml"/><Relationship Id="rId1" Type="http://schemas.openxmlformats.org/officeDocument/2006/relationships/image" Target="../media/image36.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7.png"/></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9.pn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4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42.png"/><Relationship Id="rId1" Type="http://schemas.openxmlformats.org/officeDocument/2006/relationships/image" Target="../media/image41.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44.png"/><Relationship Id="rId1" Type="http://schemas.openxmlformats.org/officeDocument/2006/relationships/image" Target="../media/image43.png"/></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45.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47.png"/><Relationship Id="rId1" Type="http://schemas.openxmlformats.org/officeDocument/2006/relationships/image" Target="../media/image46.png"/></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48.png"/></Relationships>
</file>

<file path=ppt/slides/_rels/slide49.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62.xml"/><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chart" Target="../charts/char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62.xml"/><Relationship Id="rId2" Type="http://schemas.openxmlformats.org/officeDocument/2006/relationships/image" Target="../media/image51.png"/><Relationship Id="rId1" Type="http://schemas.openxmlformats.org/officeDocument/2006/relationships/chart" Target="../charts/chart6.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62.xml"/><Relationship Id="rId1" Type="http://schemas.openxmlformats.org/officeDocument/2006/relationships/image" Target="../media/image52.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2.xml"/><Relationship Id="rId1" Type="http://schemas.openxmlformats.org/officeDocument/2006/relationships/chart" Target="../charts/chart7.xml"/></Relationships>
</file>

<file path=ppt/slides/_rels/slide53.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62.xml"/><Relationship Id="rId2" Type="http://schemas.openxmlformats.org/officeDocument/2006/relationships/chart" Target="../charts/chart9.xml"/><Relationship Id="rId1" Type="http://schemas.openxmlformats.org/officeDocument/2006/relationships/chart" Target="../charts/chart8.xml"/></Relationships>
</file>

<file path=ppt/slides/_rels/slide54.xml.rels><?xml version="1.0" encoding="UTF-8" standalone="yes"?>
<Relationships xmlns="http://schemas.openxmlformats.org/package/2006/relationships"><Relationship Id="rId4" Type="http://schemas.openxmlformats.org/officeDocument/2006/relationships/notesSlide" Target="../notesSlides/notesSlide11.xml"/><Relationship Id="rId3" Type="http://schemas.openxmlformats.org/officeDocument/2006/relationships/slideLayout" Target="../slideLayouts/slideLayout62.xml"/><Relationship Id="rId2" Type="http://schemas.openxmlformats.org/officeDocument/2006/relationships/image" Target="../media/image53.png"/><Relationship Id="rId1" Type="http://schemas.openxmlformats.org/officeDocument/2006/relationships/chart" Target="../charts/chart10.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2.xml"/><Relationship Id="rId1" Type="http://schemas.openxmlformats.org/officeDocument/2006/relationships/tags" Target="../tags/tag5.xml"/></Relationships>
</file>

<file path=ppt/slides/_rels/slide56.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62.xml"/><Relationship Id="rId2" Type="http://schemas.openxmlformats.org/officeDocument/2006/relationships/chart" Target="../charts/chart12.xml"/><Relationship Id="rId1" Type="http://schemas.openxmlformats.org/officeDocument/2006/relationships/chart" Target="../charts/chart1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2.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62.xml"/><Relationship Id="rId1" Type="http://schemas.openxmlformats.org/officeDocument/2006/relationships/chart" Target="../charts/chart13.xml"/></Relationships>
</file>

<file path=ppt/slides/_rels/slide59.xml.rels><?xml version="1.0" encoding="UTF-8" standalone="yes"?>
<Relationships xmlns="http://schemas.openxmlformats.org/package/2006/relationships"><Relationship Id="rId4" Type="http://schemas.openxmlformats.org/officeDocument/2006/relationships/slideLayout" Target="../slideLayouts/slideLayout62.xml"/><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chart" Target="../charts/chart14.xml"/></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23.xml"/><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4" Type="http://schemas.openxmlformats.org/officeDocument/2006/relationships/notesSlide" Target="../notesSlides/notesSlide15.xml"/><Relationship Id="rId3" Type="http://schemas.openxmlformats.org/officeDocument/2006/relationships/slideLayout" Target="../slideLayouts/slideLayout23.xml"/><Relationship Id="rId2" Type="http://schemas.openxmlformats.org/officeDocument/2006/relationships/image" Target="../media/image57.png"/><Relationship Id="rId1" Type="http://schemas.openxmlformats.org/officeDocument/2006/relationships/image" Target="../media/image56.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59.png"/><Relationship Id="rId1" Type="http://schemas.openxmlformats.org/officeDocument/2006/relationships/image" Target="../media/image58.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5.xml"/><Relationship Id="rId1" Type="http://schemas.openxmlformats.org/officeDocument/2006/relationships/tags" Target="../tags/tag6.xml"/></Relationships>
</file>

<file path=ppt/slides/_rels/slide67.xml.rels><?xml version="1.0" encoding="UTF-8" standalone="yes"?>
<Relationships xmlns="http://schemas.openxmlformats.org/package/2006/relationships"><Relationship Id="rId5" Type="http://schemas.openxmlformats.org/officeDocument/2006/relationships/slideLayout" Target="../slideLayouts/slideLayout65.xml"/><Relationship Id="rId4" Type="http://schemas.openxmlformats.org/officeDocument/2006/relationships/tags" Target="../tags/tag9.xml"/><Relationship Id="rId3" Type="http://schemas.openxmlformats.org/officeDocument/2006/relationships/image" Target="../media/image60.png"/><Relationship Id="rId2" Type="http://schemas.openxmlformats.org/officeDocument/2006/relationships/tags" Target="../tags/tag8.xml"/><Relationship Id="rId1" Type="http://schemas.openxmlformats.org/officeDocument/2006/relationships/tags" Target="../tags/tag7.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61.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19.jpeg"/></Relationships>
</file>

<file path=ppt/slides/_rels/slide8.xml.rels><?xml version="1.0" encoding="UTF-8" standalone="yes"?>
<Relationships xmlns="http://schemas.openxmlformats.org/package/2006/relationships"><Relationship Id="rId4" Type="http://schemas.openxmlformats.org/officeDocument/2006/relationships/slideLayout" Target="../slideLayouts/slideLayout23.xml"/><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image" Target="../media/image2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平行四边形 5"/>
          <p:cNvSpPr/>
          <p:nvPr/>
        </p:nvSpPr>
        <p:spPr>
          <a:xfrm>
            <a:off x="8976320" y="6309320"/>
            <a:ext cx="1475656" cy="288032"/>
          </a:xfrm>
          <a:prstGeom prst="parallelogram">
            <a:avLst/>
          </a:prstGeom>
          <a:solidFill>
            <a:srgbClr val="7C233E"/>
          </a:solidFill>
          <a:ln>
            <a:solidFill>
              <a:srgbClr val="7C233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latin typeface="Franklin Gothic Book" panose="020B0503020102020204"/>
              <a:ea typeface="微软雅黑" panose="020B0503020204020204" charset="-122"/>
            </a:endParaRPr>
          </a:p>
        </p:txBody>
      </p:sp>
      <p:grpSp>
        <p:nvGrpSpPr>
          <p:cNvPr id="7" name="组合 6"/>
          <p:cNvGrpSpPr/>
          <p:nvPr/>
        </p:nvGrpSpPr>
        <p:grpSpPr>
          <a:xfrm>
            <a:off x="1991544" y="2060849"/>
            <a:ext cx="2736304" cy="2914759"/>
            <a:chOff x="539552" y="1916832"/>
            <a:chExt cx="3312368" cy="3528392"/>
          </a:xfrm>
        </p:grpSpPr>
        <p:sp>
          <p:nvSpPr>
            <p:cNvPr id="8" name="矩形 7"/>
            <p:cNvSpPr/>
            <p:nvPr/>
          </p:nvSpPr>
          <p:spPr>
            <a:xfrm>
              <a:off x="539552" y="1916832"/>
              <a:ext cx="1728192" cy="1728192"/>
            </a:xfrm>
            <a:prstGeom prst="rect">
              <a:avLst/>
            </a:prstGeom>
            <a:solidFill>
              <a:srgbClr val="7C233E"/>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latin typeface="Franklin Gothic Book" panose="020B0503020102020204"/>
                <a:ea typeface="微软雅黑" panose="020B0503020204020204" charset="-122"/>
              </a:endParaRPr>
            </a:p>
          </p:txBody>
        </p:sp>
        <p:sp>
          <p:nvSpPr>
            <p:cNvPr id="9" name="矩形 8"/>
            <p:cNvSpPr/>
            <p:nvPr/>
          </p:nvSpPr>
          <p:spPr>
            <a:xfrm>
              <a:off x="2123728" y="3717032"/>
              <a:ext cx="1728192" cy="1728192"/>
            </a:xfrm>
            <a:prstGeom prst="rect">
              <a:avLst/>
            </a:prstGeom>
            <a:solidFill>
              <a:srgbClr val="7C233E"/>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latin typeface="Franklin Gothic Book" panose="020B0503020102020204"/>
                <a:ea typeface="微软雅黑" panose="020B0503020204020204" charset="-122"/>
              </a:endParaRPr>
            </a:p>
          </p:txBody>
        </p:sp>
        <p:sp>
          <p:nvSpPr>
            <p:cNvPr id="10" name="矩形 9"/>
            <p:cNvSpPr/>
            <p:nvPr/>
          </p:nvSpPr>
          <p:spPr>
            <a:xfrm>
              <a:off x="2339752" y="2132856"/>
              <a:ext cx="1512168" cy="1512168"/>
            </a:xfrm>
            <a:prstGeom prst="rect">
              <a:avLst/>
            </a:prstGeom>
            <a:solidFill>
              <a:srgbClr val="C9CBE7"/>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latin typeface="Franklin Gothic Book" panose="020B0503020102020204"/>
                <a:ea typeface="微软雅黑" panose="020B0503020204020204" charset="-122"/>
              </a:endParaRPr>
            </a:p>
          </p:txBody>
        </p:sp>
        <p:sp>
          <p:nvSpPr>
            <p:cNvPr id="11" name="矩形 10"/>
            <p:cNvSpPr/>
            <p:nvPr/>
          </p:nvSpPr>
          <p:spPr>
            <a:xfrm>
              <a:off x="539552" y="3717032"/>
              <a:ext cx="1512168" cy="1512168"/>
            </a:xfrm>
            <a:prstGeom prst="rect">
              <a:avLst/>
            </a:prstGeom>
            <a:solidFill>
              <a:srgbClr val="C9CBE7"/>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latin typeface="Franklin Gothic Book" panose="020B0503020102020204"/>
                <a:ea typeface="微软雅黑" panose="020B0503020204020204" charset="-122"/>
              </a:endParaRPr>
            </a:p>
          </p:txBody>
        </p:sp>
      </p:grpSp>
      <p:sp>
        <p:nvSpPr>
          <p:cNvPr id="12" name="平行四边形 11"/>
          <p:cNvSpPr/>
          <p:nvPr/>
        </p:nvSpPr>
        <p:spPr>
          <a:xfrm>
            <a:off x="1775520" y="548680"/>
            <a:ext cx="1475656" cy="288032"/>
          </a:xfrm>
          <a:prstGeom prst="parallelogram">
            <a:avLst/>
          </a:prstGeom>
          <a:solidFill>
            <a:srgbClr val="7C233E"/>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0000"/>
              </a:solidFill>
              <a:latin typeface="Franklin Gothic Book" panose="020B0503020102020204"/>
              <a:ea typeface="微软雅黑" panose="020B0503020204020204" charset="-122"/>
            </a:endParaRPr>
          </a:p>
        </p:txBody>
      </p:sp>
      <p:sp>
        <p:nvSpPr>
          <p:cNvPr id="13" name="平行四边形 12"/>
          <p:cNvSpPr/>
          <p:nvPr/>
        </p:nvSpPr>
        <p:spPr>
          <a:xfrm>
            <a:off x="6384032" y="6309320"/>
            <a:ext cx="2555776" cy="288032"/>
          </a:xfrm>
          <a:prstGeom prst="parallelogram">
            <a:avLst/>
          </a:prstGeom>
          <a:solidFill>
            <a:srgbClr val="C9CBE7"/>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latin typeface="Franklin Gothic Book" panose="020B0503020102020204"/>
              <a:ea typeface="微软雅黑" panose="020B0503020204020204" charset="-122"/>
            </a:endParaRPr>
          </a:p>
        </p:txBody>
      </p:sp>
      <p:sp>
        <p:nvSpPr>
          <p:cNvPr id="14" name="平行四边形 13"/>
          <p:cNvSpPr/>
          <p:nvPr/>
        </p:nvSpPr>
        <p:spPr>
          <a:xfrm>
            <a:off x="3287688" y="533932"/>
            <a:ext cx="2555776" cy="288032"/>
          </a:xfrm>
          <a:prstGeom prst="parallelogram">
            <a:avLst/>
          </a:prstGeom>
          <a:solidFill>
            <a:srgbClr val="C9CBE7"/>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latin typeface="Franklin Gothic Book" panose="020B0503020102020204"/>
              <a:ea typeface="微软雅黑" panose="020B0503020204020204" charset="-122"/>
            </a:endParaRPr>
          </a:p>
        </p:txBody>
      </p:sp>
      <p:sp>
        <p:nvSpPr>
          <p:cNvPr id="16" name="副标题 2"/>
          <p:cNvSpPr txBox="1"/>
          <p:nvPr/>
        </p:nvSpPr>
        <p:spPr>
          <a:xfrm>
            <a:off x="6096000" y="4146916"/>
            <a:ext cx="4590098" cy="175260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lang="zh-CN" altLang="en-US" sz="1800" kern="1200" dirty="0" smtClean="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lang="zh-CN" altLang="en-US" sz="1600" kern="1200" dirty="0" smtClean="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lang="zh-CN" altLang="en-US" sz="1400" kern="1200" dirty="0" smtClean="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lang="zh-CN" altLang="en-US" sz="1200" kern="1200" dirty="0" smtClean="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lang="en-US" sz="12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zh-CN" altLang="en-US" dirty="0">
                <a:latin typeface="Times New Roman" panose="02020603050405020304" pitchFamily="18" charset="0"/>
                <a:ea typeface="黑体" panose="02010609060101010101" pitchFamily="49" charset="-122"/>
                <a:cs typeface="Times New Roman" panose="02020603050405020304" pitchFamily="18" charset="0"/>
              </a:rPr>
              <a:t>广州市第一人民医院</a:t>
            </a:r>
            <a:endParaRPr lang="en-US" altLang="zh-CN" dirty="0">
              <a:latin typeface="Times New Roman" panose="02020603050405020304" pitchFamily="18" charset="0"/>
              <a:ea typeface="黑体" panose="02010609060101010101" pitchFamily="49" charset="-122"/>
              <a:cs typeface="Times New Roman" panose="02020603050405020304" pitchFamily="18" charset="0"/>
            </a:endParaRPr>
          </a:p>
          <a:p>
            <a:pPr marL="0" indent="0" algn="ctr">
              <a:buNone/>
            </a:pPr>
            <a:r>
              <a:rPr lang="zh-CN" altLang="en-US" dirty="0">
                <a:latin typeface="Times New Roman" panose="02020603050405020304" pitchFamily="18" charset="0"/>
                <a:ea typeface="黑体" panose="02010609060101010101" pitchFamily="49" charset="-122"/>
                <a:cs typeface="Times New Roman" panose="02020603050405020304" pitchFamily="18" charset="0"/>
              </a:rPr>
              <a:t>呼吸与危重症医学科</a:t>
            </a:r>
            <a:endParaRPr lang="en-US" altLang="zh-CN" dirty="0">
              <a:latin typeface="Times New Roman" panose="02020603050405020304" pitchFamily="18" charset="0"/>
              <a:ea typeface="黑体" panose="02010609060101010101" pitchFamily="49" charset="-122"/>
              <a:cs typeface="Times New Roman" panose="02020603050405020304" pitchFamily="18" charset="0"/>
            </a:endParaRPr>
          </a:p>
          <a:p>
            <a:pPr marL="0" indent="0" algn="ctr">
              <a:buNone/>
            </a:pPr>
            <a:endParaRPr lang="en-US" altLang="zh-CN" sz="800" b="1" dirty="0">
              <a:ea typeface="黑体" panose="02010609060101010101" pitchFamily="49" charset="-122"/>
              <a:cs typeface="Times New Roman" panose="02020603050405020304" pitchFamily="18" charset="0"/>
            </a:endParaRPr>
          </a:p>
          <a:p>
            <a:pPr marL="0" indent="0" algn="ctr">
              <a:buNone/>
            </a:pPr>
            <a:r>
              <a:rPr lang="zh-CN" altLang="en-US" sz="2000" b="1" dirty="0">
                <a:ea typeface="黑体" panose="02010609060101010101" pitchFamily="49" charset="-122"/>
                <a:cs typeface="Times New Roman" panose="02020603050405020304" pitchFamily="18" charset="0"/>
              </a:rPr>
              <a:t>李裕军</a:t>
            </a:r>
            <a:endParaRPr lang="en-US" altLang="zh-CN" sz="2000" b="1" dirty="0">
              <a:ea typeface="黑体" panose="02010609060101010101" pitchFamily="49" charset="-122"/>
              <a:cs typeface="Times New Roman" panose="02020603050405020304" pitchFamily="18" charset="0"/>
            </a:endParaRPr>
          </a:p>
          <a:p>
            <a:pPr marL="0" indent="0" algn="ctr">
              <a:buNone/>
            </a:pPr>
            <a:endParaRPr lang="zh-CN" altLang="en-US" sz="2000" b="1" dirty="0"/>
          </a:p>
          <a:p>
            <a:pPr marL="0" indent="0">
              <a:buNone/>
            </a:pPr>
            <a:endParaRPr lang="zh-CN" altLang="en-US" sz="2000" dirty="0">
              <a:latin typeface="Arial" panose="020B0604020202020204" pitchFamily="34" charset="0"/>
              <a:ea typeface="黑体" panose="02010609060101010101" pitchFamily="49" charset="-122"/>
              <a:cs typeface="Arial" panose="020B0604020202020204" pitchFamily="34" charset="0"/>
            </a:endParaRPr>
          </a:p>
        </p:txBody>
      </p:sp>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752184" y="375623"/>
            <a:ext cx="954360" cy="954360"/>
          </a:xfrm>
          <a:prstGeom prst="rect">
            <a:avLst/>
          </a:prstGeom>
        </p:spPr>
      </p:pic>
      <p:pic>
        <p:nvPicPr>
          <p:cNvPr id="32" name="Picture 1" descr="廣州醫科大學AI版本(RGB)01"/>
          <p:cNvPicPr>
            <a:picLocks noChangeAspect="1" noChangeArrowheads="1"/>
          </p:cNvPicPr>
          <p:nvPr/>
        </p:nvPicPr>
        <p:blipFill>
          <a:blip r:embed="rId2" cstate="print"/>
          <a:stretch>
            <a:fillRect/>
          </a:stretch>
        </p:blipFill>
        <p:spPr bwMode="auto">
          <a:xfrm>
            <a:off x="8976320" y="379412"/>
            <a:ext cx="954360" cy="954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txBox="1"/>
          <p:nvPr/>
        </p:nvSpPr>
        <p:spPr>
          <a:xfrm>
            <a:off x="3047764" y="2267088"/>
            <a:ext cx="10363200" cy="1470025"/>
          </a:xfrm>
          <a:prstGeom prst="rect">
            <a:avLst/>
          </a:prstGeom>
        </p:spPr>
        <p:txBody>
          <a:bodyPr vert="horz" lIns="91440" tIns="45720" rIns="91440" bIns="45720" rtlCol="0" anchor="ctr">
            <a:noAutofit/>
          </a:bodyPr>
          <a:lstStyle>
            <a:lvl1pPr algn="ctr" defTabSz="914400" rtl="0" eaLnBrk="1" latinLnBrk="0" hangingPunct="1">
              <a:spcBef>
                <a:spcPct val="0"/>
              </a:spcBef>
              <a:buNone/>
              <a:defRPr lang="en-US" sz="2400" b="1" kern="1200" dirty="0">
                <a:solidFill>
                  <a:schemeClr val="tx1"/>
                </a:solidFill>
                <a:latin typeface="+mn-lt"/>
                <a:ea typeface="+mn-ea"/>
                <a:cs typeface="+mn-cs"/>
              </a:defRPr>
            </a:lvl1pPr>
          </a:lstStyle>
          <a:p>
            <a:r>
              <a:rPr lang="zh-CN" altLang="en-US" sz="4800" dirty="0">
                <a:solidFill>
                  <a:schemeClr val="bg2">
                    <a:lumMod val="25000"/>
                  </a:schemeClr>
                </a:solidFill>
              </a:rPr>
              <a:t>咯血初现，真菌终现</a:t>
            </a:r>
            <a:br>
              <a:rPr lang="zh-CN" altLang="en-US" sz="4800" dirty="0">
                <a:solidFill>
                  <a:schemeClr val="bg2">
                    <a:lumMod val="25000"/>
                  </a:schemeClr>
                </a:solidFill>
              </a:rPr>
            </a:br>
            <a:r>
              <a:rPr lang="zh-CN" altLang="en-US" sz="3000" dirty="0">
                <a:latin typeface="黑体" panose="02010609060101010101" pitchFamily="49" charset="-122"/>
                <a:ea typeface="黑体" panose="02010609060101010101" pitchFamily="49" charset="-122"/>
              </a:rPr>
              <a:t>一例肺癌患者的诊治历程</a:t>
            </a:r>
            <a:endParaRPr lang="zh-CN" altLang="en-US" sz="3000" dirty="0">
              <a:latin typeface="黑体" panose="02010609060101010101" pitchFamily="49" charset="-122"/>
              <a:ea typeface="黑体" panose="02010609060101010101" pitchFamily="49" charset="-122"/>
            </a:endParaRPr>
          </a:p>
        </p:txBody>
      </p:sp>
      <p:sp>
        <p:nvSpPr>
          <p:cNvPr id="4" name="文本框 3"/>
          <p:cNvSpPr txBox="1"/>
          <p:nvPr/>
        </p:nvSpPr>
        <p:spPr>
          <a:xfrm>
            <a:off x="308141" y="6536322"/>
            <a:ext cx="6096000" cy="215444"/>
          </a:xfrm>
          <a:prstGeom prst="rect">
            <a:avLst/>
          </a:prstGeom>
          <a:noFill/>
        </p:spPr>
        <p:txBody>
          <a:bodyPr wrap="square">
            <a:spAutoFit/>
          </a:bodyPr>
          <a:lstStyle/>
          <a:p>
            <a:r>
              <a:rPr lang="en-US" altLang="zh-CN" sz="800" b="0" i="0" u="none" strike="noStrike" baseline="0" dirty="0">
                <a:latin typeface="Arial" panose="020B0604020202020204" pitchFamily="34" charset="0"/>
              </a:rPr>
              <a:t>presented on Pfizer sponsored meeting/</a:t>
            </a:r>
            <a:r>
              <a:rPr lang="zh-CN" altLang="en-US" sz="800" b="0" i="0" u="none" strike="noStrike" baseline="0" dirty="0">
                <a:latin typeface="WenQuanYiZenHei"/>
              </a:rPr>
              <a:t>用于辉瑞主办会议                     </a:t>
            </a:r>
            <a:r>
              <a:rPr lang="zh-CN" altLang="en-US" sz="800" dirty="0">
                <a:solidFill>
                  <a:srgbClr val="000000"/>
                </a:solidFill>
                <a:latin typeface="WenQuanYiZenHei"/>
              </a:rPr>
              <a:t>仅供医学药学专业人士阅读</a:t>
            </a:r>
            <a:r>
              <a:rPr lang="en-US" altLang="zh-CN" sz="800" dirty="0">
                <a:solidFill>
                  <a:srgbClr val="333333"/>
                </a:solidFill>
                <a:latin typeface="Arial" panose="020B0604020202020204" pitchFamily="34" charset="0"/>
              </a:rPr>
              <a:t>/</a:t>
            </a:r>
            <a:r>
              <a:rPr lang="zh-CN" altLang="en-US" sz="800" dirty="0">
                <a:solidFill>
                  <a:srgbClr val="000000"/>
                </a:solidFill>
                <a:latin typeface="WenQuanYiZenHei"/>
              </a:rPr>
              <a:t>参考</a:t>
            </a:r>
            <a:endParaRPr lang="zh-CN" altLang="en-US" sz="8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诊治</a:t>
            </a:r>
            <a:endParaRPr lang="zh-CN" altLang="en-US" dirty="0"/>
          </a:p>
        </p:txBody>
      </p:sp>
      <p:sp>
        <p:nvSpPr>
          <p:cNvPr id="3" name="内容占位符 2"/>
          <p:cNvSpPr>
            <a:spLocks noGrp="1"/>
          </p:cNvSpPr>
          <p:nvPr>
            <p:ph idx="1"/>
          </p:nvPr>
        </p:nvSpPr>
        <p:spPr>
          <a:xfrm>
            <a:off x="1175657" y="2166257"/>
            <a:ext cx="9383486" cy="2601686"/>
          </a:xfrm>
        </p:spPr>
        <p:txBody>
          <a:bodyPr>
            <a:normAutofit fontScale="92500" lnSpcReduction="20000"/>
          </a:bodyPr>
          <a:lstStyle/>
          <a:p>
            <a:pPr marL="0" indent="0">
              <a:buNone/>
            </a:pPr>
            <a:r>
              <a:rPr lang="zh-CN" altLang="en-US" sz="2600" dirty="0"/>
              <a:t>入院后予左氧氟沙星抗感染、酚妥拉明控制血压、止血等治疗，患者仍有反复咯鲜红血，量约</a:t>
            </a:r>
            <a:r>
              <a:rPr lang="en-US" altLang="zh-CN" sz="2600" dirty="0"/>
              <a:t>5ml</a:t>
            </a:r>
            <a:r>
              <a:rPr lang="zh-CN" altLang="en-US" sz="2600" dirty="0"/>
              <a:t>至</a:t>
            </a:r>
            <a:r>
              <a:rPr lang="en-US" altLang="zh-CN" sz="2600" dirty="0"/>
              <a:t>10</a:t>
            </a:r>
            <a:r>
              <a:rPr lang="zh-CN" altLang="en-US" sz="2600" dirty="0"/>
              <a:t>余</a:t>
            </a:r>
            <a:r>
              <a:rPr lang="en-US" altLang="zh-CN" sz="2600" dirty="0"/>
              <a:t>ml</a:t>
            </a:r>
            <a:r>
              <a:rPr lang="zh-CN" altLang="en-US" sz="2600" dirty="0"/>
              <a:t>。</a:t>
            </a:r>
            <a:endParaRPr lang="en-US" altLang="zh-CN" sz="2600" dirty="0"/>
          </a:p>
          <a:p>
            <a:pPr marL="0" indent="0">
              <a:buNone/>
            </a:pPr>
            <a:endParaRPr lang="en-US" altLang="zh-CN" sz="2600" dirty="0"/>
          </a:p>
          <a:p>
            <a:pPr marL="0" indent="0">
              <a:buNone/>
            </a:pPr>
            <a:endParaRPr lang="en-US" altLang="zh-CN" sz="2600" dirty="0"/>
          </a:p>
          <a:p>
            <a:pPr marL="0" indent="0">
              <a:buNone/>
            </a:pPr>
            <a:r>
              <a:rPr lang="zh-CN" altLang="en-US" sz="2600" dirty="0"/>
              <a:t>下一步治疗手段？</a:t>
            </a:r>
            <a:endParaRPr lang="en-US" altLang="zh-CN" sz="2600" dirty="0"/>
          </a:p>
          <a:p>
            <a:pPr marL="0" indent="0">
              <a:buNone/>
            </a:pPr>
            <a:endParaRPr lang="en-US" altLang="zh-CN" sz="2600" dirty="0"/>
          </a:p>
          <a:p>
            <a:pPr marL="0" indent="0">
              <a:buNone/>
            </a:pPr>
            <a:r>
              <a:rPr lang="zh-CN" altLang="en-US" sz="2600" dirty="0"/>
              <a:t>如何确诊肺部占位？</a:t>
            </a:r>
            <a:endParaRPr lang="en-US" altLang="zh-CN" sz="2600" dirty="0"/>
          </a:p>
          <a:p>
            <a:pPr marL="0" indent="0">
              <a:buNone/>
            </a:pPr>
            <a:endParaRPr lang="en-US" altLang="zh-CN" dirty="0"/>
          </a:p>
          <a:p>
            <a:pPr marL="0" indent="0">
              <a:buNone/>
            </a:pPr>
            <a:endParaRPr lang="en-US" altLang="zh-CN" dirty="0"/>
          </a:p>
          <a:p>
            <a:pPr marL="0" indent="0">
              <a:buNone/>
            </a:pPr>
            <a:endParaRPr lang="en-US" altLang="zh-CN" dirty="0"/>
          </a:p>
          <a:p>
            <a:pPr marL="0" indent="0">
              <a:buNone/>
            </a:pPr>
            <a:endParaRPr lang="zh-CN" alt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BAE</a:t>
            </a:r>
            <a:r>
              <a:rPr lang="zh-CN" altLang="en-US" dirty="0"/>
              <a:t>（支气管动脉栓塞）</a:t>
            </a:r>
            <a:endParaRPr lang="zh-CN" altLang="en-US" dirty="0"/>
          </a:p>
        </p:txBody>
      </p:sp>
      <p:sp>
        <p:nvSpPr>
          <p:cNvPr id="3" name="内容占位符 2"/>
          <p:cNvSpPr>
            <a:spLocks noGrp="1"/>
          </p:cNvSpPr>
          <p:nvPr>
            <p:ph idx="1"/>
          </p:nvPr>
        </p:nvSpPr>
        <p:spPr/>
        <p:txBody>
          <a:bodyPr/>
          <a:lstStyle/>
          <a:p>
            <a:pPr>
              <a:buFont typeface="Wingdings" panose="05000000000000000000" pitchFamily="2" charset="2"/>
              <a:buChar char="n"/>
            </a:pPr>
            <a:r>
              <a:rPr lang="zh-CN" altLang="en-US" b="1" dirty="0">
                <a:solidFill>
                  <a:srgbClr val="0070C0"/>
                </a:solidFill>
              </a:rPr>
              <a:t>适应症</a:t>
            </a:r>
            <a:endParaRPr lang="en-US" altLang="zh-CN" b="1" dirty="0">
              <a:solidFill>
                <a:srgbClr val="0070C0"/>
              </a:solidFill>
            </a:endParaRPr>
          </a:p>
          <a:p>
            <a:pPr marL="0" indent="0">
              <a:buNone/>
            </a:pPr>
            <a:r>
              <a:rPr lang="zh-CN" altLang="en-US" b="1" dirty="0">
                <a:solidFill>
                  <a:srgbClr val="0070C0"/>
                </a:solidFill>
              </a:rPr>
              <a:t>（</a:t>
            </a:r>
            <a:r>
              <a:rPr lang="en-US" altLang="zh-CN" b="1" dirty="0">
                <a:solidFill>
                  <a:srgbClr val="0070C0"/>
                </a:solidFill>
              </a:rPr>
              <a:t>1</a:t>
            </a:r>
            <a:r>
              <a:rPr lang="zh-CN" altLang="en-US" b="1" dirty="0">
                <a:solidFill>
                  <a:srgbClr val="0070C0"/>
                </a:solidFill>
              </a:rPr>
              <a:t>）各种原因导致的大咯血；</a:t>
            </a:r>
            <a:endParaRPr lang="en-US" altLang="zh-CN" b="1" dirty="0">
              <a:solidFill>
                <a:srgbClr val="0070C0"/>
              </a:solidFill>
            </a:endParaRPr>
          </a:p>
          <a:p>
            <a:pPr marL="0" indent="0">
              <a:buNone/>
            </a:pPr>
            <a:endParaRPr lang="zh-CN" altLang="en-US" b="1" dirty="0">
              <a:solidFill>
                <a:srgbClr val="0070C0"/>
              </a:solidFill>
            </a:endParaRPr>
          </a:p>
          <a:p>
            <a:pPr marL="0" indent="0">
              <a:buNone/>
            </a:pPr>
            <a:r>
              <a:rPr lang="zh-CN" altLang="en-US" b="1" dirty="0">
                <a:solidFill>
                  <a:srgbClr val="0070C0"/>
                </a:solidFill>
              </a:rPr>
              <a:t>（</a:t>
            </a:r>
            <a:r>
              <a:rPr lang="en-US" altLang="zh-CN" b="1" dirty="0">
                <a:solidFill>
                  <a:srgbClr val="0070C0"/>
                </a:solidFill>
              </a:rPr>
              <a:t>2</a:t>
            </a:r>
            <a:r>
              <a:rPr lang="zh-CN" altLang="en-US" b="1" dirty="0">
                <a:solidFill>
                  <a:srgbClr val="0070C0"/>
                </a:solidFill>
              </a:rPr>
              <a:t>）反复发作或保守治疗效果不佳的非大咯血。</a:t>
            </a:r>
            <a:endParaRPr lang="en-US" altLang="zh-CN" b="1" dirty="0">
              <a:solidFill>
                <a:srgbClr val="0070C0"/>
              </a:solidFill>
            </a:endParaRPr>
          </a:p>
          <a:p>
            <a:pPr marL="0" indent="0">
              <a:buNone/>
            </a:pPr>
            <a:endParaRPr lang="en-US" altLang="zh-CN" b="1" dirty="0"/>
          </a:p>
          <a:p>
            <a:pPr marL="0" indent="0">
              <a:buNone/>
            </a:pPr>
            <a:endParaRPr lang="en-US" altLang="zh-CN" b="1" dirty="0"/>
          </a:p>
          <a:p>
            <a:pPr>
              <a:buFont typeface="Wingdings" panose="05000000000000000000" pitchFamily="2" charset="2"/>
              <a:buChar char="n"/>
            </a:pPr>
            <a:r>
              <a:rPr lang="zh-CN" altLang="en-US" b="1" dirty="0"/>
              <a:t>绝对禁忌：</a:t>
            </a:r>
            <a:endParaRPr lang="en-US" altLang="zh-CN" b="1" dirty="0"/>
          </a:p>
          <a:p>
            <a:pPr marL="0" indent="0">
              <a:buNone/>
            </a:pPr>
            <a:r>
              <a:rPr lang="zh-CN" altLang="en-US" b="1" dirty="0"/>
              <a:t>   责任血管发出供应心脏、脊髓或颅内的分支，且无法避开这些危险分支进行栓塞者。</a:t>
            </a:r>
            <a:endParaRPr lang="en-US" altLang="zh-CN" b="1" dirty="0"/>
          </a:p>
          <a:p>
            <a:pPr marL="0" indent="0">
              <a:buNone/>
            </a:pPr>
            <a:endParaRPr lang="zh-CN" alt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BAE</a:t>
            </a:r>
            <a:r>
              <a:rPr lang="zh-CN" altLang="en-US" dirty="0"/>
              <a:t>（支气管动脉栓塞）</a:t>
            </a:r>
            <a:endParaRPr lang="zh-CN" altLang="en-US" dirty="0"/>
          </a:p>
        </p:txBody>
      </p:sp>
      <p:sp>
        <p:nvSpPr>
          <p:cNvPr id="3" name="内容占位符 2"/>
          <p:cNvSpPr>
            <a:spLocks noGrp="1"/>
          </p:cNvSpPr>
          <p:nvPr>
            <p:ph idx="1"/>
          </p:nvPr>
        </p:nvSpPr>
        <p:spPr/>
        <p:txBody>
          <a:bodyPr/>
          <a:lstStyle/>
          <a:p>
            <a:pPr>
              <a:buFont typeface="Wingdings" panose="05000000000000000000" pitchFamily="2" charset="2"/>
              <a:buChar char="n"/>
            </a:pPr>
            <a:r>
              <a:rPr lang="zh-CN" altLang="en-US" b="1" dirty="0"/>
              <a:t>相对禁忌证：</a:t>
            </a:r>
            <a:endParaRPr lang="en-US" altLang="zh-CN" b="1" dirty="0"/>
          </a:p>
          <a:p>
            <a:pPr marL="0" indent="0">
              <a:buNone/>
            </a:pPr>
            <a:r>
              <a:rPr lang="zh-CN" altLang="en-US" dirty="0"/>
              <a:t>（</a:t>
            </a:r>
            <a:r>
              <a:rPr lang="en-US" altLang="zh-CN" dirty="0"/>
              <a:t>1</a:t>
            </a:r>
            <a:r>
              <a:rPr lang="zh-CN" altLang="en-US" dirty="0"/>
              <a:t>）含碘对比剂过敏史；</a:t>
            </a:r>
            <a:endParaRPr lang="en-US" altLang="zh-CN" dirty="0"/>
          </a:p>
          <a:p>
            <a:pPr marL="0" indent="0">
              <a:buNone/>
            </a:pPr>
            <a:r>
              <a:rPr lang="zh-CN" altLang="en-US" dirty="0"/>
              <a:t>（</a:t>
            </a:r>
            <a:r>
              <a:rPr lang="en-US" altLang="zh-CN" dirty="0"/>
              <a:t>2</a:t>
            </a:r>
            <a:r>
              <a:rPr lang="zh-CN" altLang="en-US" dirty="0"/>
              <a:t>）严重的器官功能障碍；</a:t>
            </a:r>
            <a:endParaRPr lang="en-US" altLang="zh-CN" dirty="0"/>
          </a:p>
          <a:p>
            <a:pPr marL="0" indent="0">
              <a:buNone/>
            </a:pPr>
            <a:r>
              <a:rPr lang="zh-CN" altLang="en-US" dirty="0"/>
              <a:t>（</a:t>
            </a:r>
            <a:r>
              <a:rPr lang="en-US" altLang="zh-CN" dirty="0"/>
              <a:t>3</a:t>
            </a:r>
            <a:r>
              <a:rPr lang="zh-CN" altLang="en-US" dirty="0"/>
              <a:t>）严重的出凝血功能障碍；</a:t>
            </a:r>
            <a:endParaRPr lang="en-US" altLang="zh-CN" dirty="0"/>
          </a:p>
          <a:p>
            <a:pPr marL="0" indent="0">
              <a:buNone/>
            </a:pPr>
            <a:r>
              <a:rPr lang="zh-CN" altLang="en-US" dirty="0"/>
              <a:t>（</a:t>
            </a:r>
            <a:r>
              <a:rPr lang="en-US" altLang="zh-CN" dirty="0"/>
              <a:t>4</a:t>
            </a:r>
            <a:r>
              <a:rPr lang="zh-CN" altLang="en-US" dirty="0"/>
              <a:t>）活动期甲状腺功能亢进；</a:t>
            </a:r>
            <a:endParaRPr lang="en-US" altLang="zh-CN" dirty="0"/>
          </a:p>
          <a:p>
            <a:pPr marL="0" indent="0">
              <a:buNone/>
            </a:pPr>
            <a:r>
              <a:rPr lang="zh-CN" altLang="en-US" dirty="0"/>
              <a:t>（</a:t>
            </a:r>
            <a:r>
              <a:rPr lang="en-US" altLang="zh-CN" dirty="0"/>
              <a:t>5</a:t>
            </a:r>
            <a:r>
              <a:rPr lang="zh-CN" altLang="en-US" dirty="0"/>
              <a:t>）妊娠；</a:t>
            </a:r>
            <a:endParaRPr lang="en-US" altLang="zh-CN" dirty="0"/>
          </a:p>
          <a:p>
            <a:pPr marL="0" indent="0">
              <a:buNone/>
            </a:pPr>
            <a:r>
              <a:rPr lang="zh-CN" altLang="en-US" dirty="0"/>
              <a:t>（</a:t>
            </a:r>
            <a:r>
              <a:rPr lang="en-US" altLang="zh-CN" dirty="0"/>
              <a:t>6</a:t>
            </a:r>
            <a:r>
              <a:rPr lang="zh-CN" altLang="en-US" dirty="0"/>
              <a:t>）其他疾病导致患者不能配合手术的情况。</a:t>
            </a:r>
            <a:endParaRPr lang="en-US" altLang="zh-CN" dirty="0"/>
          </a:p>
          <a:p>
            <a:pPr marL="0" indent="0">
              <a:buNone/>
            </a:pPr>
            <a:endParaRPr lang="en-US" altLang="zh-CN" dirty="0"/>
          </a:p>
          <a:p>
            <a:pPr>
              <a:buFont typeface="Wingdings" panose="05000000000000000000" pitchFamily="2" charset="2"/>
              <a:buChar char="n"/>
            </a:pPr>
            <a:r>
              <a:rPr lang="zh-CN" altLang="en-US" dirty="0"/>
              <a:t>若出现危及生命的大咯血需抢救性</a:t>
            </a:r>
            <a:r>
              <a:rPr lang="en-US" altLang="zh-CN" dirty="0"/>
              <a:t>BAE</a:t>
            </a:r>
            <a:r>
              <a:rPr lang="zh-CN" altLang="en-US" dirty="0"/>
              <a:t>治疗，可在对症治疗的基础上进行</a:t>
            </a:r>
            <a:r>
              <a:rPr lang="en-US" altLang="zh-CN" dirty="0"/>
              <a:t>BAE</a:t>
            </a:r>
            <a:r>
              <a:rPr lang="zh-CN" altLang="en-US" dirty="0"/>
              <a:t>。</a:t>
            </a:r>
            <a:endParaRPr lang="zh-CN" altLang="en-US" dirty="0"/>
          </a:p>
          <a:p>
            <a:endParaRPr lang="zh-CN" alt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介入科急会诊</a:t>
            </a:r>
            <a:endParaRPr lang="zh-CN" altLang="en-US" dirty="0"/>
          </a:p>
        </p:txBody>
      </p:sp>
      <p:pic>
        <p:nvPicPr>
          <p:cNvPr id="4" name="Picture 2"/>
          <p:cNvPicPr>
            <a:picLocks noGrp="1" noChangeAspect="1" noChangeArrowheads="1"/>
          </p:cNvPicPr>
          <p:nvPr>
            <p:ph idx="1"/>
          </p:nvPr>
        </p:nvPicPr>
        <p:blipFill>
          <a:blip r:embed="rId1"/>
          <a:srcRect/>
          <a:stretch>
            <a:fillRect/>
          </a:stretch>
        </p:blipFill>
        <p:spPr bwMode="auto">
          <a:xfrm>
            <a:off x="1221729" y="1946066"/>
            <a:ext cx="10147181" cy="2965867"/>
          </a:xfrm>
          <a:prstGeom prst="rect">
            <a:avLst/>
          </a:prstGeom>
          <a:noFill/>
          <a:ln w="9525">
            <a:noFill/>
            <a:miter lim="800000"/>
            <a:headEnd/>
            <a:tailEnd/>
          </a:ln>
          <a:effec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4-11-15 </a:t>
            </a:r>
            <a:r>
              <a:rPr lang="zh-CN" altLang="en-US" dirty="0"/>
              <a:t>急诊支气管动脉栓塞术</a:t>
            </a:r>
            <a:endParaRPr lang="zh-CN" altLang="en-US" dirty="0"/>
          </a:p>
        </p:txBody>
      </p:sp>
      <p:pic>
        <p:nvPicPr>
          <p:cNvPr id="5123" name="Picture 3"/>
          <p:cNvPicPr>
            <a:picLocks noGrp="1" noChangeAspect="1" noChangeArrowheads="1"/>
          </p:cNvPicPr>
          <p:nvPr>
            <p:ph idx="1"/>
          </p:nvPr>
        </p:nvPicPr>
        <p:blipFill>
          <a:blip r:embed="rId1"/>
          <a:srcRect/>
          <a:stretch>
            <a:fillRect/>
          </a:stretch>
        </p:blipFill>
        <p:spPr bwMode="auto">
          <a:xfrm>
            <a:off x="1174033" y="1103145"/>
            <a:ext cx="4339663" cy="3436423"/>
          </a:xfrm>
          <a:prstGeom prst="rect">
            <a:avLst/>
          </a:prstGeom>
          <a:noFill/>
          <a:ln w="9525">
            <a:noFill/>
            <a:miter lim="800000"/>
            <a:headEnd/>
            <a:tailEnd/>
          </a:ln>
          <a:effectLst/>
        </p:spPr>
      </p:pic>
      <p:sp>
        <p:nvSpPr>
          <p:cNvPr id="4" name="内容占位符 2"/>
          <p:cNvSpPr txBox="1"/>
          <p:nvPr/>
        </p:nvSpPr>
        <p:spPr>
          <a:xfrm>
            <a:off x="838200" y="1939925"/>
            <a:ext cx="105156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defRPr/>
            </a:pPr>
            <a:endParaRPr kumimoji="0" lang="zh-CN" altLang="en-US" sz="2800" b="0" i="0" u="none" strike="noStrike" kern="1200" cap="none" spc="0" normalizeH="0" baseline="0" noProof="0">
              <a:ln>
                <a:noFill/>
              </a:ln>
              <a:solidFill>
                <a:schemeClr val="tx1"/>
              </a:solidFill>
              <a:effectLst/>
              <a:uLnTx/>
              <a:uFillTx/>
              <a:latin typeface="+mn-lt"/>
              <a:ea typeface="+mn-ea"/>
              <a:cs typeface="+mn-cs"/>
            </a:endParaRPr>
          </a:p>
        </p:txBody>
      </p:sp>
      <p:pic>
        <p:nvPicPr>
          <p:cNvPr id="5124" name="Picture 4"/>
          <p:cNvPicPr>
            <a:picLocks noChangeAspect="1" noChangeArrowheads="1"/>
          </p:cNvPicPr>
          <p:nvPr/>
        </p:nvPicPr>
        <p:blipFill>
          <a:blip r:embed="rId2"/>
          <a:srcRect/>
          <a:stretch>
            <a:fillRect/>
          </a:stretch>
        </p:blipFill>
        <p:spPr bwMode="auto">
          <a:xfrm>
            <a:off x="7329559" y="1102486"/>
            <a:ext cx="4489401" cy="3435031"/>
          </a:xfrm>
          <a:prstGeom prst="rect">
            <a:avLst/>
          </a:prstGeom>
          <a:noFill/>
          <a:ln w="9525">
            <a:noFill/>
            <a:miter lim="800000"/>
            <a:headEnd/>
            <a:tailEnd/>
          </a:ln>
          <a:effectLst/>
        </p:spPr>
      </p:pic>
      <p:sp>
        <p:nvSpPr>
          <p:cNvPr id="8" name="矩形 7"/>
          <p:cNvSpPr/>
          <p:nvPr/>
        </p:nvSpPr>
        <p:spPr>
          <a:xfrm>
            <a:off x="928332" y="4770567"/>
            <a:ext cx="10629900" cy="1477328"/>
          </a:xfrm>
          <a:prstGeom prst="rect">
            <a:avLst/>
          </a:prstGeom>
        </p:spPr>
        <p:txBody>
          <a:bodyPr wrap="square">
            <a:spAutoFit/>
          </a:bodyPr>
          <a:lstStyle/>
          <a:p>
            <a:r>
              <a:rPr lang="zh-CN" altLang="en-US" dirty="0">
                <a:solidFill>
                  <a:srgbClr val="C00000"/>
                </a:solidFill>
              </a:rPr>
              <a:t>左肺可见占位性病变，动脉期，左肺见异常增粗、扭曲、紊乱增生血管；实质期，血管增生部见斑片状染色灶；主要由左侧支气管动脉参与供血。 </a:t>
            </a:r>
            <a:endParaRPr lang="en-US" altLang="zh-CN" dirty="0">
              <a:solidFill>
                <a:srgbClr val="C00000"/>
              </a:solidFill>
            </a:endParaRPr>
          </a:p>
          <a:p>
            <a:r>
              <a:rPr lang="zh-CN" altLang="en-US" dirty="0"/>
              <a:t>   </a:t>
            </a:r>
            <a:endParaRPr lang="en-US" altLang="zh-CN" dirty="0"/>
          </a:p>
          <a:p>
            <a:r>
              <a:rPr lang="zh-CN" altLang="en-US" dirty="0"/>
              <a:t>咯血相关动脉栓塞：超选择性插管至左侧支气管动脉向上述靶动脉缓慢注入适量</a:t>
            </a:r>
            <a:r>
              <a:rPr lang="el-GR" altLang="zh-CN" dirty="0"/>
              <a:t>300μ-500</a:t>
            </a:r>
            <a:r>
              <a:rPr lang="en-US" altLang="zh-CN" dirty="0"/>
              <a:t>um</a:t>
            </a:r>
            <a:r>
              <a:rPr lang="zh-CN" altLang="en-US" dirty="0"/>
              <a:t>微球颗粒行栓塞治疗；栓塞后造影复查示异常动脉分支被完全栓塞，非相关血管保持通畅。</a:t>
            </a:r>
            <a:endParaRPr lang="zh-CN" altLang="en-US" dirty="0"/>
          </a:p>
        </p:txBody>
      </p:sp>
      <p:sp>
        <p:nvSpPr>
          <p:cNvPr id="7" name="右箭头 6"/>
          <p:cNvSpPr/>
          <p:nvPr/>
        </p:nvSpPr>
        <p:spPr>
          <a:xfrm>
            <a:off x="5718412" y="2688609"/>
            <a:ext cx="1433015" cy="49131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2024-11-19</a:t>
            </a:r>
            <a:r>
              <a:rPr lang="zh-CN" altLang="en-US" dirty="0"/>
              <a:t>纤支镜检查</a:t>
            </a:r>
            <a:endParaRPr lang="zh-CN" altLang="en-US" dirty="0"/>
          </a:p>
        </p:txBody>
      </p:sp>
      <p:sp>
        <p:nvSpPr>
          <p:cNvPr id="5" name="矩形 4"/>
          <p:cNvSpPr/>
          <p:nvPr/>
        </p:nvSpPr>
        <p:spPr>
          <a:xfrm>
            <a:off x="8211219" y="1859339"/>
            <a:ext cx="3680062" cy="3139321"/>
          </a:xfrm>
          <a:prstGeom prst="rect">
            <a:avLst/>
          </a:prstGeom>
        </p:spPr>
        <p:txBody>
          <a:bodyPr wrap="square">
            <a:spAutoFit/>
          </a:bodyPr>
          <a:lstStyle/>
          <a:p>
            <a:r>
              <a:rPr lang="en-US" b="1" dirty="0" err="1">
                <a:solidFill>
                  <a:srgbClr val="0070C0"/>
                </a:solidFill>
              </a:rPr>
              <a:t>左上叶固有段支气管大量灰白色坏死物堵塞</a:t>
            </a:r>
            <a:r>
              <a:rPr lang="en-US" b="1" dirty="0" err="1"/>
              <a:t>，局部黏膜充血肿胀。气管少量陈旧血性分泌物</a:t>
            </a:r>
            <a:r>
              <a:rPr lang="en-US" b="1" dirty="0"/>
              <a:t>。 </a:t>
            </a:r>
            <a:r>
              <a:rPr lang="en-US" b="1" dirty="0" err="1"/>
              <a:t>气管、双侧支气管行EBUS检查，可见左肺门、气管左旁淋巴结肿大</a:t>
            </a:r>
            <a:endParaRPr lang="en-US" b="1" dirty="0"/>
          </a:p>
          <a:p>
            <a:endParaRPr lang="en-US" b="1" dirty="0"/>
          </a:p>
          <a:p>
            <a:endParaRPr lang="en-US" b="1" dirty="0"/>
          </a:p>
          <a:p>
            <a:endParaRPr lang="en-US" b="1" dirty="0"/>
          </a:p>
          <a:p>
            <a:r>
              <a:rPr lang="en-US" b="1" dirty="0"/>
              <a:t>1.左上叶固有段支气管肺癌？</a:t>
            </a:r>
            <a:br>
              <a:rPr lang="en-US" b="1" dirty="0"/>
            </a:br>
            <a:r>
              <a:rPr lang="en-US" b="1" dirty="0"/>
              <a:t>2.左肺门、纵膈淋巴结肿大</a:t>
            </a:r>
            <a:br>
              <a:rPr lang="en-US" b="1" dirty="0"/>
            </a:br>
            <a:r>
              <a:rPr lang="en-US" b="1" dirty="0"/>
              <a:t>3.EBUS-TBNA</a:t>
            </a:r>
            <a:endParaRPr lang="zh-CN" altLang="en-US" dirty="0"/>
          </a:p>
        </p:txBody>
      </p:sp>
      <p:pic>
        <p:nvPicPr>
          <p:cNvPr id="2050" name="Picture 2"/>
          <p:cNvPicPr>
            <a:picLocks noGrp="1" noChangeAspect="1" noChangeArrowheads="1"/>
          </p:cNvPicPr>
          <p:nvPr>
            <p:ph idx="1"/>
          </p:nvPr>
        </p:nvPicPr>
        <p:blipFill>
          <a:blip r:embed="rId1"/>
          <a:srcRect r="2710"/>
          <a:stretch>
            <a:fillRect/>
          </a:stretch>
        </p:blipFill>
        <p:spPr bwMode="auto">
          <a:xfrm>
            <a:off x="245661" y="1300494"/>
            <a:ext cx="7965558" cy="4008485"/>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病理</a:t>
            </a:r>
            <a:endParaRPr lang="zh-CN" altLang="en-US" dirty="0"/>
          </a:p>
        </p:txBody>
      </p:sp>
      <p:sp>
        <p:nvSpPr>
          <p:cNvPr id="5" name="矩形 4"/>
          <p:cNvSpPr/>
          <p:nvPr/>
        </p:nvSpPr>
        <p:spPr>
          <a:xfrm>
            <a:off x="7158535" y="1517609"/>
            <a:ext cx="4291937" cy="4247317"/>
          </a:xfrm>
          <a:prstGeom prst="rect">
            <a:avLst/>
          </a:prstGeom>
        </p:spPr>
        <p:txBody>
          <a:bodyPr wrap="square">
            <a:spAutoFit/>
          </a:bodyPr>
          <a:lstStyle/>
          <a:p>
            <a:r>
              <a:rPr lang="en-US" b="1" dirty="0"/>
              <a:t>1.(</a:t>
            </a:r>
            <a:r>
              <a:rPr lang="en-US" b="1" dirty="0" err="1">
                <a:solidFill>
                  <a:srgbClr val="0070C0"/>
                </a:solidFill>
              </a:rPr>
              <a:t>左肺上叶</a:t>
            </a:r>
            <a:r>
              <a:rPr lang="en-US" b="1" dirty="0" err="1"/>
              <a:t>固有段开口</a:t>
            </a:r>
            <a:r>
              <a:rPr lang="en-US" b="1" dirty="0"/>
              <a:t>)活检标本：镜下见片状凝固性坏死组织及少许肺、支气管组织，坏死组织灶区见变性坏死的肿瘤组织残影，其内细胞呈多角形，核型不规则，部分似呈鳞状细胞形态；免疫组化结果：肿瘤组织CK5/6(</a:t>
            </a:r>
            <a:r>
              <a:rPr lang="en-US" b="1" dirty="0" err="1"/>
              <a:t>弥漫强</a:t>
            </a:r>
            <a:r>
              <a:rPr lang="en-US" b="1" dirty="0"/>
              <a:t>+），P40(</a:t>
            </a:r>
            <a:r>
              <a:rPr lang="en-US" b="1" dirty="0" err="1"/>
              <a:t>弥漫弱</a:t>
            </a:r>
            <a:r>
              <a:rPr lang="en-US" b="1" dirty="0"/>
              <a:t>+)，TTF-1(-)，p53(约90%+)；</a:t>
            </a:r>
            <a:r>
              <a:rPr lang="en-US" b="1" dirty="0" err="1"/>
              <a:t>结合HE形态及免疫组化结果，</a:t>
            </a:r>
            <a:r>
              <a:rPr lang="en-US" b="1" dirty="0" err="1">
                <a:solidFill>
                  <a:srgbClr val="0070C0"/>
                </a:solidFill>
              </a:rPr>
              <a:t>符合低分化癌，倾向为鳞状细胞癌</a:t>
            </a:r>
            <a:r>
              <a:rPr lang="en-US" b="1" dirty="0"/>
              <a:t>；</a:t>
            </a:r>
            <a:endParaRPr lang="en-US" b="1" dirty="0"/>
          </a:p>
          <a:p>
            <a:br>
              <a:rPr lang="en-US" b="1" dirty="0"/>
            </a:br>
            <a:r>
              <a:rPr lang="en-US" b="1" dirty="0"/>
              <a:t>2.(</a:t>
            </a:r>
            <a:r>
              <a:rPr lang="en-US" b="1" dirty="0" err="1">
                <a:solidFill>
                  <a:srgbClr val="0070C0"/>
                </a:solidFill>
              </a:rPr>
              <a:t>气管左旁淋巴结</a:t>
            </a:r>
            <a:r>
              <a:rPr lang="en-US" b="1" dirty="0" err="1"/>
              <a:t>针吸</a:t>
            </a:r>
            <a:r>
              <a:rPr lang="en-US" b="1" dirty="0"/>
              <a:t>)</a:t>
            </a:r>
            <a:r>
              <a:rPr lang="en-US" b="1" dirty="0" err="1"/>
              <a:t>镜下于血凝块背景中见散在少量异型上皮样细胞，核深染，胞浆丰富、红染，并见拖尾形象，结合上述免疫组化结果，</a:t>
            </a:r>
            <a:r>
              <a:rPr lang="en-US" b="1" dirty="0" err="1">
                <a:solidFill>
                  <a:srgbClr val="0070C0"/>
                </a:solidFill>
              </a:rPr>
              <a:t>考虑为鳞状细胞癌转移</a:t>
            </a:r>
            <a:r>
              <a:rPr lang="en-US" b="1" dirty="0">
                <a:solidFill>
                  <a:srgbClr val="0070C0"/>
                </a:solidFill>
              </a:rPr>
              <a:t>。</a:t>
            </a:r>
            <a:endParaRPr lang="zh-CN" altLang="en-US" dirty="0">
              <a:solidFill>
                <a:srgbClr val="0070C0"/>
              </a:solidFill>
            </a:endParaRPr>
          </a:p>
        </p:txBody>
      </p:sp>
      <p:pic>
        <p:nvPicPr>
          <p:cNvPr id="3074" name="Picture 2"/>
          <p:cNvPicPr>
            <a:picLocks noGrp="1" noChangeAspect="1" noChangeArrowheads="1"/>
          </p:cNvPicPr>
          <p:nvPr>
            <p:ph idx="1"/>
          </p:nvPr>
        </p:nvPicPr>
        <p:blipFill>
          <a:blip r:embed="rId1"/>
          <a:srcRect l="34007"/>
          <a:stretch>
            <a:fillRect/>
          </a:stretch>
        </p:blipFill>
        <p:spPr bwMode="auto">
          <a:xfrm>
            <a:off x="887104" y="1532506"/>
            <a:ext cx="5841243" cy="3996387"/>
          </a:xfrm>
          <a:prstGeom prst="rect">
            <a:avLst/>
          </a:prstGeom>
          <a:noFill/>
          <a:ln w="9525">
            <a:noFill/>
            <a:miter lim="800000"/>
            <a:headEnd/>
            <a:tailEnd/>
          </a:ln>
          <a:effectLst/>
        </p:spPr>
      </p:pic>
      <p:pic>
        <p:nvPicPr>
          <p:cNvPr id="3076" name="Picture 4"/>
          <p:cNvPicPr>
            <a:picLocks noChangeAspect="1" noChangeArrowheads="1"/>
          </p:cNvPicPr>
          <p:nvPr/>
        </p:nvPicPr>
        <p:blipFill>
          <a:blip r:embed="rId2"/>
          <a:srcRect/>
          <a:stretch>
            <a:fillRect/>
          </a:stretch>
        </p:blipFill>
        <p:spPr bwMode="auto">
          <a:xfrm>
            <a:off x="3943350" y="1617118"/>
            <a:ext cx="2907826" cy="1988961"/>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4-11-26 PETCT</a:t>
            </a:r>
            <a:endParaRPr lang="zh-CN" altLang="en-US" dirty="0"/>
          </a:p>
        </p:txBody>
      </p:sp>
      <p:pic>
        <p:nvPicPr>
          <p:cNvPr id="1028" name="Picture 4"/>
          <p:cNvPicPr>
            <a:picLocks noGrp="1" noChangeAspect="1" noChangeArrowheads="1"/>
          </p:cNvPicPr>
          <p:nvPr>
            <p:ph idx="1"/>
          </p:nvPr>
        </p:nvPicPr>
        <p:blipFill>
          <a:blip r:embed="rId1"/>
          <a:srcRect/>
          <a:stretch>
            <a:fillRect/>
          </a:stretch>
        </p:blipFill>
        <p:spPr bwMode="auto">
          <a:xfrm>
            <a:off x="1147394" y="1300389"/>
            <a:ext cx="4948606" cy="5011756"/>
          </a:xfrm>
          <a:prstGeom prst="rect">
            <a:avLst/>
          </a:prstGeom>
          <a:noFill/>
          <a:ln w="9525">
            <a:noFill/>
            <a:miter lim="800000"/>
            <a:headEnd/>
            <a:tailEnd/>
          </a:ln>
          <a:effectLst/>
        </p:spPr>
      </p:pic>
      <p:sp>
        <p:nvSpPr>
          <p:cNvPr id="8" name="矩形 7"/>
          <p:cNvSpPr/>
          <p:nvPr/>
        </p:nvSpPr>
        <p:spPr>
          <a:xfrm>
            <a:off x="6574971" y="1520041"/>
            <a:ext cx="5323115" cy="4247317"/>
          </a:xfrm>
          <a:prstGeom prst="rect">
            <a:avLst/>
          </a:prstGeom>
        </p:spPr>
        <p:txBody>
          <a:bodyPr wrap="square">
            <a:spAutoFit/>
          </a:bodyPr>
          <a:lstStyle/>
          <a:p>
            <a:r>
              <a:rPr lang="en-US" b="1" dirty="0">
                <a:solidFill>
                  <a:srgbClr val="0070C0"/>
                </a:solidFill>
              </a:rPr>
              <a:t>1、左肺上叶团块影</a:t>
            </a:r>
            <a:r>
              <a:rPr lang="zh-CN" altLang="en-US" b="1" dirty="0">
                <a:solidFill>
                  <a:srgbClr val="0070C0"/>
                </a:solidFill>
              </a:rPr>
              <a:t>（</a:t>
            </a:r>
            <a:r>
              <a:rPr lang="en-US" b="1" dirty="0">
                <a:solidFill>
                  <a:srgbClr val="0070C0"/>
                </a:solidFill>
              </a:rPr>
              <a:t> SUV为8.40，范围约39×27mm </a:t>
            </a:r>
            <a:r>
              <a:rPr lang="zh-CN" altLang="en-US" b="1" dirty="0">
                <a:solidFill>
                  <a:srgbClr val="0070C0"/>
                </a:solidFill>
              </a:rPr>
              <a:t>）</a:t>
            </a:r>
            <a:r>
              <a:rPr lang="en-US" b="1" dirty="0">
                <a:solidFill>
                  <a:srgbClr val="0070C0"/>
                </a:solidFill>
              </a:rPr>
              <a:t>，</a:t>
            </a:r>
            <a:r>
              <a:rPr lang="en-US" b="1" dirty="0"/>
              <a:t>代谢呈“环状”增高，考虑肺癌伴中央坏死；病灶周围多发结节、条片影，代谢活跃，考虑肺内转移伴炎症</a:t>
            </a:r>
            <a:r>
              <a:rPr lang="en-US" b="1" dirty="0">
                <a:solidFill>
                  <a:srgbClr val="0070C0"/>
                </a:solidFill>
              </a:rPr>
              <a:t>；双肺门及纵隔（2R、3A、5-7组）多发淋巴结，代谢活跃，考虑转移。</a:t>
            </a:r>
            <a:br>
              <a:rPr lang="en-US" b="1" dirty="0"/>
            </a:br>
            <a:r>
              <a:rPr lang="en-US" b="1" dirty="0"/>
              <a:t>2、口腔Ca术后：舌底右侧份、咽后（第2颈椎前）及右侧咽旁条片状代谢活跃灶，疑生理性摄取，不除外复发、转移可能，请结合MR。</a:t>
            </a:r>
            <a:br>
              <a:rPr lang="en-US" b="1" dirty="0"/>
            </a:br>
            <a:r>
              <a:rPr lang="en-US" b="1" dirty="0"/>
              <a:t>3、双肺散在多发实性结节，部分代谢略活跃，考虑炎性增殖灶，建议定期复查。</a:t>
            </a:r>
            <a:br>
              <a:rPr lang="en-US" b="1" dirty="0"/>
            </a:br>
            <a:r>
              <a:rPr lang="en-US" b="1" dirty="0"/>
              <a:t>5、脑萎缩；双侧基底节区少许腔隙灶。</a:t>
            </a:r>
            <a:br>
              <a:rPr lang="en-US" b="1" dirty="0"/>
            </a:br>
            <a:r>
              <a:rPr lang="en-US" b="1" dirty="0"/>
              <a:t>6、肝囊肿；右肾结石，双肾囊肿。</a:t>
            </a:r>
            <a:br>
              <a:rPr lang="en-US" b="1" dirty="0"/>
            </a:br>
            <a:r>
              <a:rPr lang="en-US" b="1" dirty="0"/>
              <a:t>7、双侧颈内动脉、主动脉、腹主动脉及双侧髂总动脉硬化。</a:t>
            </a:r>
            <a:br>
              <a:rPr lang="en-US" b="1" dirty="0"/>
            </a:br>
            <a:r>
              <a:rPr lang="en-US" b="1" dirty="0"/>
              <a:t>8、L2椎体成形术后；脊柱退行性变。</a:t>
            </a:r>
            <a:endParaRPr lang="zh-CN" alt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因</a:t>
            </a:r>
            <a:r>
              <a:rPr lang="en-US" altLang="zh-CN" dirty="0"/>
              <a:t>+PD-L1</a:t>
            </a:r>
            <a:r>
              <a:rPr lang="zh-CN" altLang="en-US" dirty="0"/>
              <a:t>检测</a:t>
            </a:r>
            <a:endParaRPr lang="zh-CN" altLang="en-US" dirty="0"/>
          </a:p>
        </p:txBody>
      </p:sp>
      <p:pic>
        <p:nvPicPr>
          <p:cNvPr id="4098" name="Picture 2"/>
          <p:cNvPicPr>
            <a:picLocks noGrp="1" noChangeAspect="1" noChangeArrowheads="1"/>
          </p:cNvPicPr>
          <p:nvPr>
            <p:ph idx="1"/>
          </p:nvPr>
        </p:nvPicPr>
        <p:blipFill>
          <a:blip r:embed="rId1"/>
          <a:srcRect/>
          <a:stretch>
            <a:fillRect/>
          </a:stretch>
        </p:blipFill>
        <p:spPr bwMode="auto">
          <a:xfrm>
            <a:off x="1323975" y="1447006"/>
            <a:ext cx="9763125" cy="4314825"/>
          </a:xfrm>
          <a:prstGeom prst="rect">
            <a:avLst/>
          </a:prstGeom>
          <a:noFill/>
          <a:ln w="9525">
            <a:noFill/>
            <a:miter lim="800000"/>
            <a:headEnd/>
            <a:tailEnd/>
          </a:ln>
          <a:effec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诊断</a:t>
            </a:r>
            <a:endParaRPr lang="zh-CN" altLang="en-US" dirty="0"/>
          </a:p>
        </p:txBody>
      </p:sp>
      <p:sp>
        <p:nvSpPr>
          <p:cNvPr id="5" name="内容占位符 4"/>
          <p:cNvSpPr>
            <a:spLocks noGrp="1"/>
          </p:cNvSpPr>
          <p:nvPr>
            <p:ph idx="1"/>
          </p:nvPr>
        </p:nvSpPr>
        <p:spPr/>
        <p:txBody>
          <a:bodyPr/>
          <a:lstStyle/>
          <a:p>
            <a:pPr>
              <a:buNone/>
            </a:pPr>
            <a:r>
              <a:rPr lang="en-US" altLang="zh-CN" dirty="0"/>
              <a:t>1</a:t>
            </a:r>
            <a:r>
              <a:rPr lang="zh-CN" altLang="en-US" dirty="0"/>
              <a:t>、</a:t>
            </a:r>
            <a:r>
              <a:rPr lang="zh-CN" altLang="en-US" dirty="0">
                <a:solidFill>
                  <a:srgbClr val="C00000"/>
                </a:solidFill>
              </a:rPr>
              <a:t>左上肺鳞状细胞癌并双肺门、纵隔淋巴结转移</a:t>
            </a:r>
            <a:r>
              <a:rPr lang="en-US" altLang="zh-CN" dirty="0">
                <a:solidFill>
                  <a:srgbClr val="C00000"/>
                </a:solidFill>
              </a:rPr>
              <a:t>cT4N3M0,IIIC</a:t>
            </a:r>
            <a:r>
              <a:rPr lang="zh-CN" altLang="en-US" dirty="0">
                <a:solidFill>
                  <a:srgbClr val="C00000"/>
                </a:solidFill>
              </a:rPr>
              <a:t>期</a:t>
            </a:r>
            <a:r>
              <a:rPr lang="en-US" altLang="zh-CN" dirty="0">
                <a:solidFill>
                  <a:srgbClr val="C00000"/>
                </a:solidFill>
              </a:rPr>
              <a:t>,PS=0-1</a:t>
            </a:r>
            <a:r>
              <a:rPr lang="zh-CN" altLang="en-US" dirty="0">
                <a:solidFill>
                  <a:srgbClr val="C00000"/>
                </a:solidFill>
              </a:rPr>
              <a:t>分</a:t>
            </a:r>
            <a:endParaRPr lang="en-US" altLang="zh-CN" dirty="0">
              <a:solidFill>
                <a:srgbClr val="C00000"/>
              </a:solidFill>
            </a:endParaRPr>
          </a:p>
          <a:p>
            <a:pPr>
              <a:buNone/>
            </a:pPr>
            <a:r>
              <a:rPr lang="en-US" altLang="zh-CN" dirty="0"/>
              <a:t>2</a:t>
            </a:r>
            <a:r>
              <a:rPr lang="zh-CN" altLang="en-US" dirty="0"/>
              <a:t>、咯血（肺癌相关，支气管动脉栓塞术）；</a:t>
            </a:r>
            <a:endParaRPr lang="en-US" altLang="zh-CN" dirty="0"/>
          </a:p>
          <a:p>
            <a:pPr>
              <a:buNone/>
            </a:pPr>
            <a:r>
              <a:rPr lang="en-US" altLang="zh-CN" dirty="0"/>
              <a:t>3</a:t>
            </a:r>
            <a:r>
              <a:rPr lang="zh-CN" altLang="en-US" dirty="0"/>
              <a:t>、左肺阻塞性肺炎；</a:t>
            </a:r>
            <a:endParaRPr lang="en-US" altLang="zh-CN" dirty="0"/>
          </a:p>
          <a:p>
            <a:pPr>
              <a:buNone/>
            </a:pPr>
            <a:r>
              <a:rPr lang="en-US" altLang="zh-CN" dirty="0"/>
              <a:t>4</a:t>
            </a:r>
            <a:r>
              <a:rPr lang="zh-CN" altLang="en-US" dirty="0"/>
              <a:t>、双肺多发实性结节：炎症？；</a:t>
            </a:r>
            <a:endParaRPr lang="en-US" altLang="zh-CN" dirty="0"/>
          </a:p>
          <a:p>
            <a:pPr>
              <a:buNone/>
            </a:pPr>
            <a:r>
              <a:rPr lang="en-US" altLang="zh-CN" dirty="0"/>
              <a:t>5</a:t>
            </a:r>
            <a:r>
              <a:rPr lang="zh-CN" altLang="en-US" dirty="0"/>
              <a:t>、口腔恶性肿瘤术后；</a:t>
            </a:r>
            <a:endParaRPr lang="en-US" altLang="zh-CN" dirty="0"/>
          </a:p>
          <a:p>
            <a:pPr>
              <a:buNone/>
            </a:pPr>
            <a:r>
              <a:rPr lang="en-US" altLang="zh-CN" dirty="0"/>
              <a:t>6</a:t>
            </a:r>
            <a:r>
              <a:rPr lang="zh-CN" altLang="en-US" dirty="0"/>
              <a:t>、急性肾功能不全氮质血症期；</a:t>
            </a:r>
            <a:endParaRPr lang="en-US" altLang="zh-CN" dirty="0"/>
          </a:p>
          <a:p>
            <a:pPr>
              <a:buNone/>
            </a:pPr>
            <a:r>
              <a:rPr lang="en-US" altLang="zh-CN" dirty="0"/>
              <a:t>7</a:t>
            </a:r>
            <a:r>
              <a:rPr lang="zh-CN" altLang="en-US" dirty="0"/>
              <a:t>、高血压病</a:t>
            </a:r>
            <a:r>
              <a:rPr lang="en-US" altLang="zh-CN" dirty="0"/>
              <a:t>2</a:t>
            </a:r>
            <a:r>
              <a:rPr lang="zh-CN" altLang="en-US" dirty="0"/>
              <a:t>级</a:t>
            </a:r>
            <a:endParaRPr lang="en-US" altLang="zh-CN" dirty="0"/>
          </a:p>
          <a:p>
            <a:pPr>
              <a:buNone/>
            </a:pPr>
            <a:r>
              <a:rPr lang="en-US" altLang="zh-CN" dirty="0"/>
              <a:t>8</a:t>
            </a:r>
            <a:r>
              <a:rPr lang="zh-CN" altLang="en-US" dirty="0"/>
              <a:t>、轻度贫血；</a:t>
            </a:r>
            <a:endParaRPr lang="en-US" altLang="zh-CN" dirty="0"/>
          </a:p>
          <a:p>
            <a:pPr>
              <a:buNone/>
            </a:pPr>
            <a:r>
              <a:rPr lang="en-US" altLang="zh-CN" dirty="0"/>
              <a:t>……</a:t>
            </a:r>
            <a:endParaRPr lang="en-US" altLang="zh-C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内容占位符 2"/>
          <p:cNvSpPr>
            <a:spLocks noGrp="1"/>
          </p:cNvSpPr>
          <p:nvPr>
            <p:ph idx="3"/>
          </p:nvPr>
        </p:nvSpPr>
        <p:spPr>
          <a:xfrm>
            <a:off x="420012" y="1218603"/>
            <a:ext cx="11507294" cy="4873625"/>
          </a:xfrm>
        </p:spPr>
        <p:txBody>
          <a:bodyPr>
            <a:normAutofit/>
          </a:bodyPr>
          <a:lstStyle/>
          <a:p>
            <a:pPr marL="0" indent="0">
              <a:buNone/>
            </a:pPr>
            <a:r>
              <a:rPr lang="zh-CN" altLang="en-US" sz="1200" dirty="0"/>
              <a:t>讲者声明：</a:t>
            </a:r>
            <a:endParaRPr lang="en-US" altLang="zh-CN" sz="1200" dirty="0"/>
          </a:p>
          <a:p>
            <a:pPr marL="0" indent="0">
              <a:buNone/>
            </a:pPr>
            <a:r>
              <a:rPr lang="en-US" altLang="zh-CN" sz="1200" dirty="0"/>
              <a:t>     </a:t>
            </a:r>
            <a:r>
              <a:rPr lang="zh-CN" altLang="en-US" sz="1200" dirty="0"/>
              <a:t>本材料由我本人自行准备，仅用于辉瑞会议供学术交流和讨论使用。材料中涉及的信息/数据/照片由我在日常诊疗活动/科研活动中自行收集/总结。</a:t>
            </a:r>
            <a:endParaRPr lang="zh-CN" altLang="en-US" sz="1200" dirty="0"/>
          </a:p>
          <a:p>
            <a:pPr marL="0" indent="0">
              <a:buNone/>
            </a:pPr>
            <a:r>
              <a:rPr lang="zh-CN" altLang="en-US" sz="1200" dirty="0"/>
              <a:t>我确认</a:t>
            </a:r>
            <a:endParaRPr lang="zh-CN" altLang="en-US" sz="1200" dirty="0"/>
          </a:p>
          <a:p>
            <a:pPr marL="0" indent="0">
              <a:buNone/>
            </a:pPr>
            <a:r>
              <a:rPr lang="zh-CN" altLang="en-US" sz="1200" dirty="0"/>
              <a:t>（1）该等信息/数据/图片真实、准确；</a:t>
            </a:r>
            <a:endParaRPr lang="zh-CN" altLang="en-US" sz="1200" dirty="0"/>
          </a:p>
          <a:p>
            <a:pPr marL="0" indent="0">
              <a:buNone/>
            </a:pPr>
            <a:r>
              <a:rPr lang="zh-CN" altLang="en-US" sz="1200" dirty="0"/>
              <a:t>（2）对该等信息/数据/图片的援引和使用全面、客观、不误导；</a:t>
            </a:r>
            <a:endParaRPr lang="zh-CN" altLang="en-US" sz="1200" dirty="0"/>
          </a:p>
          <a:p>
            <a:pPr marL="0" indent="0">
              <a:buNone/>
            </a:pPr>
            <a:r>
              <a:rPr lang="zh-CN" altLang="en-US" sz="1200" dirty="0"/>
              <a:t>（3）该等信息/数据/图片的使用和披露符合相关法律法规要求。我对材料的合法合规性自行承担责任。</a:t>
            </a:r>
            <a:endParaRPr lang="zh-CN" altLang="en-US" sz="1200" dirty="0"/>
          </a:p>
          <a:p>
            <a:pPr marL="0" indent="0">
              <a:buNone/>
            </a:pPr>
            <a:endParaRPr lang="zh-CN" altLang="en-US" sz="1200" dirty="0"/>
          </a:p>
          <a:p>
            <a:r>
              <a:rPr lang="zh-CN" altLang="en-US" sz="1200" dirty="0"/>
              <a:t>免责声明:辉瑞公司对资料内容已经进行审查确保符合辉瑞内部相关政策的标准及要求，但并不负责确认参考资料是否正确引用。</a:t>
            </a:r>
            <a:endParaRPr lang="en-US" altLang="zh-CN" sz="1200" dirty="0"/>
          </a:p>
          <a:p>
            <a:pPr marL="0" indent="0">
              <a:buNone/>
            </a:pPr>
            <a:endParaRPr lang="zh-CN" altLang="en-US" sz="1200" dirty="0"/>
          </a:p>
        </p:txBody>
      </p:sp>
      <p:sp>
        <p:nvSpPr>
          <p:cNvPr id="5" name="文本框 3"/>
          <p:cNvSpPr txBox="1"/>
          <p:nvPr/>
        </p:nvSpPr>
        <p:spPr>
          <a:xfrm>
            <a:off x="10142941" y="6542448"/>
            <a:ext cx="1778766" cy="255263"/>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defRPr/>
            </a:pPr>
            <a:r>
              <a:rPr lang="zh-CN" altLang="en-US" sz="800" dirty="0">
                <a:latin typeface="微软雅黑" panose="020B0503020204020204" charset="-122"/>
                <a:ea typeface="微软雅黑" panose="020B0503020204020204" charset="-122"/>
                <a:cs typeface="Times New Roman" panose="02020603050405020304" pitchFamily="18" charset="0"/>
              </a:rPr>
              <a:t>审核号：</a:t>
            </a:r>
            <a:r>
              <a:rPr lang="en-US" altLang="zh-CN" sz="800" dirty="0">
                <a:latin typeface="微软雅黑" panose="020B0503020204020204" charset="-122"/>
                <a:ea typeface="微软雅黑" panose="020B0503020204020204" charset="-122"/>
                <a:cs typeface="Times New Roman" panose="02020603050405020304" pitchFamily="18" charset="0"/>
              </a:rPr>
              <a:t>PP-ATM-CHN-0013</a:t>
            </a:r>
            <a:endParaRPr lang="zh-CN" altLang="en-US" dirty="0">
              <a:latin typeface="微软雅黑" panose="020B0503020204020204" charset="-122"/>
              <a:ea typeface="微软雅黑" panose="020B0503020204020204" charset="-122"/>
              <a:cs typeface="Times New Roman" panose="02020603050405020304" pitchFamily="18"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lIns="91440" tIns="45720" rIns="91440" bIns="45720" rtlCol="0" anchor="ctr">
            <a:normAutofit/>
          </a:bodyPr>
          <a:lstStyle/>
          <a:p>
            <a:r>
              <a:rPr lang="zh-CN" altLang="en-US">
                <a:latin typeface="+mn-ea"/>
              </a:rPr>
              <a:t>中国</a:t>
            </a:r>
            <a:r>
              <a:rPr lang="en-US" altLang="zh-CN">
                <a:latin typeface="+mn-ea"/>
              </a:rPr>
              <a:t>III</a:t>
            </a:r>
            <a:r>
              <a:rPr lang="zh-CN" altLang="en-US">
                <a:latin typeface="+mn-ea"/>
              </a:rPr>
              <a:t>期</a:t>
            </a:r>
            <a:r>
              <a:rPr lang="en-US" altLang="zh-CN">
                <a:latin typeface="+mn-ea"/>
              </a:rPr>
              <a:t>NSCLC——</a:t>
            </a:r>
            <a:r>
              <a:rPr lang="zh-CN" altLang="en-US">
                <a:latin typeface="+mn-ea"/>
              </a:rPr>
              <a:t>不容小觑的庞大患者群体</a:t>
            </a:r>
            <a:endParaRPr lang="zh-CN" altLang="en-US">
              <a:latin typeface="+mn-ea"/>
            </a:endParaRPr>
          </a:p>
        </p:txBody>
      </p:sp>
      <p:sp>
        <p:nvSpPr>
          <p:cNvPr id="119" name="矩形 118"/>
          <p:cNvSpPr/>
          <p:nvPr/>
        </p:nvSpPr>
        <p:spPr>
          <a:xfrm>
            <a:off x="7258262" y="5311682"/>
            <a:ext cx="3084861" cy="823302"/>
          </a:xfrm>
          <a:prstGeom prst="rect">
            <a:avLst/>
          </a:prstGeom>
        </p:spPr>
        <p:txBody>
          <a:bodyPr wrap="square">
            <a:spAutoFit/>
          </a:bodyPr>
          <a:lstStyle/>
          <a:p>
            <a:pPr algn="ctr">
              <a:lnSpc>
                <a:spcPct val="125000"/>
              </a:lnSpc>
            </a:pPr>
            <a:r>
              <a:rPr lang="zh-CN" altLang="en-US" sz="2000" b="1" dirty="0">
                <a:latin typeface="+mn-ea"/>
              </a:rPr>
              <a:t>中国约</a:t>
            </a:r>
            <a:r>
              <a:rPr lang="en-US" altLang="zh-CN" sz="2000" b="1" dirty="0">
                <a:solidFill>
                  <a:srgbClr val="C00000"/>
                </a:solidFill>
                <a:latin typeface="+mn-ea"/>
              </a:rPr>
              <a:t>30%-40%</a:t>
            </a:r>
            <a:endParaRPr lang="en-US" altLang="zh-CN" sz="2000" b="1" dirty="0">
              <a:solidFill>
                <a:srgbClr val="C00000"/>
              </a:solidFill>
              <a:latin typeface="+mn-ea"/>
            </a:endParaRPr>
          </a:p>
          <a:p>
            <a:pPr algn="ctr">
              <a:lnSpc>
                <a:spcPct val="125000"/>
              </a:lnSpc>
            </a:pPr>
            <a:r>
              <a:rPr lang="zh-CN" altLang="en-US" b="1" dirty="0">
                <a:latin typeface="+mn-ea"/>
              </a:rPr>
              <a:t>的</a:t>
            </a:r>
            <a:r>
              <a:rPr lang="en-US" altLang="zh-CN" b="1" dirty="0">
                <a:latin typeface="+mn-ea"/>
              </a:rPr>
              <a:t>NSCLC</a:t>
            </a:r>
            <a:r>
              <a:rPr lang="zh-CN" altLang="en-US" b="1" dirty="0">
                <a:latin typeface="+mn-ea"/>
              </a:rPr>
              <a:t>患者初诊时为</a:t>
            </a:r>
            <a:r>
              <a:rPr lang="en-US" altLang="zh-CN" b="1" dirty="0">
                <a:latin typeface="+mn-ea"/>
              </a:rPr>
              <a:t>III</a:t>
            </a:r>
            <a:r>
              <a:rPr lang="zh-CN" altLang="en-US" b="1" dirty="0">
                <a:latin typeface="+mn-ea"/>
              </a:rPr>
              <a:t>期</a:t>
            </a:r>
            <a:r>
              <a:rPr lang="en-US" altLang="zh-CN" sz="1600" b="1" baseline="30000" dirty="0">
                <a:latin typeface="+mn-ea"/>
              </a:rPr>
              <a:t>2</a:t>
            </a:r>
            <a:endParaRPr lang="en-US" altLang="zh-CN" sz="1600" b="1" baseline="30000" dirty="0">
              <a:latin typeface="+mn-ea"/>
            </a:endParaRPr>
          </a:p>
        </p:txBody>
      </p:sp>
      <p:grpSp>
        <p:nvGrpSpPr>
          <p:cNvPr id="120" name="组合 184"/>
          <p:cNvGrpSpPr>
            <a:grpSpLocks noChangeAspect="1"/>
          </p:cNvGrpSpPr>
          <p:nvPr/>
        </p:nvGrpSpPr>
        <p:grpSpPr bwMode="auto">
          <a:xfrm>
            <a:off x="581482" y="1444969"/>
            <a:ext cx="5472000" cy="4166752"/>
            <a:chOff x="0" y="0"/>
            <a:chExt cx="5407191" cy="4756567"/>
          </a:xfrm>
          <a:solidFill>
            <a:srgbClr val="29A9C5"/>
          </a:solidFill>
        </p:grpSpPr>
        <p:sp>
          <p:nvSpPr>
            <p:cNvPr id="121" name="Freeform 3"/>
            <p:cNvSpPr/>
            <p:nvPr/>
          </p:nvSpPr>
          <p:spPr bwMode="auto">
            <a:xfrm>
              <a:off x="3148473" y="4482387"/>
              <a:ext cx="297052" cy="274180"/>
            </a:xfrm>
            <a:custGeom>
              <a:avLst/>
              <a:gdLst>
                <a:gd name="T0" fmla="*/ 194678 w 177"/>
                <a:gd name="T1" fmla="*/ 45980 h 161"/>
                <a:gd name="T2" fmla="*/ 265165 w 177"/>
                <a:gd name="T3" fmla="*/ 45980 h 161"/>
                <a:gd name="T4" fmla="*/ 332295 w 177"/>
                <a:gd name="T5" fmla="*/ 22139 h 161"/>
                <a:gd name="T6" fmla="*/ 397748 w 177"/>
                <a:gd name="T7" fmla="*/ 45980 h 161"/>
                <a:gd name="T8" fmla="*/ 496765 w 177"/>
                <a:gd name="T9" fmla="*/ 0 h 161"/>
                <a:gd name="T10" fmla="*/ 629347 w 177"/>
                <a:gd name="T11" fmla="*/ 22139 h 161"/>
                <a:gd name="T12" fmla="*/ 694800 w 177"/>
                <a:gd name="T13" fmla="*/ 0 h 161"/>
                <a:gd name="T14" fmla="*/ 730043 w 177"/>
                <a:gd name="T15" fmla="*/ 90258 h 161"/>
                <a:gd name="T16" fmla="*/ 629347 w 177"/>
                <a:gd name="T17" fmla="*/ 136239 h 161"/>
                <a:gd name="T18" fmla="*/ 595782 w 177"/>
                <a:gd name="T19" fmla="*/ 291210 h 161"/>
                <a:gd name="T20" fmla="*/ 526974 w 177"/>
                <a:gd name="T21" fmla="*/ 338893 h 161"/>
                <a:gd name="T22" fmla="*/ 526974 w 177"/>
                <a:gd name="T23" fmla="*/ 407013 h 161"/>
                <a:gd name="T24" fmla="*/ 434669 w 177"/>
                <a:gd name="T25" fmla="*/ 381468 h 161"/>
                <a:gd name="T26" fmla="*/ 397748 w 177"/>
                <a:gd name="T27" fmla="*/ 407013 h 161"/>
                <a:gd name="T28" fmla="*/ 397748 w 177"/>
                <a:gd name="T29" fmla="*/ 451290 h 161"/>
                <a:gd name="T30" fmla="*/ 332295 w 177"/>
                <a:gd name="T31" fmla="*/ 451290 h 161"/>
                <a:gd name="T32" fmla="*/ 194678 w 177"/>
                <a:gd name="T33" fmla="*/ 407013 h 161"/>
                <a:gd name="T34" fmla="*/ 33565 w 177"/>
                <a:gd name="T35" fmla="*/ 381468 h 161"/>
                <a:gd name="T36" fmla="*/ 0 w 177"/>
                <a:gd name="T37" fmla="*/ 245229 h 161"/>
                <a:gd name="T38" fmla="*/ 0 w 177"/>
                <a:gd name="T39" fmla="*/ 178813 h 161"/>
                <a:gd name="T40" fmla="*/ 162791 w 177"/>
                <a:gd name="T41" fmla="*/ 90258 h 161"/>
                <a:gd name="T42" fmla="*/ 194678 w 177"/>
                <a:gd name="T43" fmla="*/ 45980 h 1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7"/>
                <a:gd name="T67" fmla="*/ 0 h 161"/>
                <a:gd name="T68" fmla="*/ 177 w 177"/>
                <a:gd name="T69" fmla="*/ 161 h 1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7" h="161">
                  <a:moveTo>
                    <a:pt x="48" y="16"/>
                  </a:moveTo>
                  <a:lnTo>
                    <a:pt x="64" y="16"/>
                  </a:lnTo>
                  <a:lnTo>
                    <a:pt x="80" y="8"/>
                  </a:lnTo>
                  <a:lnTo>
                    <a:pt x="96" y="16"/>
                  </a:lnTo>
                  <a:lnTo>
                    <a:pt x="120" y="0"/>
                  </a:lnTo>
                  <a:lnTo>
                    <a:pt x="152" y="8"/>
                  </a:lnTo>
                  <a:lnTo>
                    <a:pt x="168" y="0"/>
                  </a:lnTo>
                  <a:lnTo>
                    <a:pt x="176" y="32"/>
                  </a:lnTo>
                  <a:lnTo>
                    <a:pt x="152" y="48"/>
                  </a:lnTo>
                  <a:lnTo>
                    <a:pt x="144" y="104"/>
                  </a:lnTo>
                  <a:lnTo>
                    <a:pt x="128" y="120"/>
                  </a:lnTo>
                  <a:lnTo>
                    <a:pt x="128" y="144"/>
                  </a:lnTo>
                  <a:lnTo>
                    <a:pt x="104" y="136"/>
                  </a:lnTo>
                  <a:lnTo>
                    <a:pt x="96" y="144"/>
                  </a:lnTo>
                  <a:lnTo>
                    <a:pt x="96" y="160"/>
                  </a:lnTo>
                  <a:lnTo>
                    <a:pt x="80" y="160"/>
                  </a:lnTo>
                  <a:lnTo>
                    <a:pt x="48" y="144"/>
                  </a:lnTo>
                  <a:lnTo>
                    <a:pt x="8" y="136"/>
                  </a:lnTo>
                  <a:lnTo>
                    <a:pt x="0" y="88"/>
                  </a:lnTo>
                  <a:lnTo>
                    <a:pt x="0" y="64"/>
                  </a:lnTo>
                  <a:lnTo>
                    <a:pt x="40" y="32"/>
                  </a:lnTo>
                  <a:lnTo>
                    <a:pt x="48" y="16"/>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22" name="Freeform 4"/>
            <p:cNvSpPr/>
            <p:nvPr/>
          </p:nvSpPr>
          <p:spPr bwMode="auto">
            <a:xfrm>
              <a:off x="4221785" y="0"/>
              <a:ext cx="1185406" cy="1190682"/>
            </a:xfrm>
            <a:custGeom>
              <a:avLst/>
              <a:gdLst>
                <a:gd name="T0" fmla="*/ 68939 w 705"/>
                <a:gd name="T1" fmla="*/ 182788 h 697"/>
                <a:gd name="T2" fmla="*/ 132833 w 705"/>
                <a:gd name="T3" fmla="*/ 295535 h 697"/>
                <a:gd name="T4" fmla="*/ 300975 w 705"/>
                <a:gd name="T5" fmla="*/ 295535 h 697"/>
                <a:gd name="T6" fmla="*/ 435490 w 705"/>
                <a:gd name="T7" fmla="*/ 502239 h 697"/>
                <a:gd name="T8" fmla="*/ 667526 w 705"/>
                <a:gd name="T9" fmla="*/ 454407 h 697"/>
                <a:gd name="T10" fmla="*/ 970183 w 705"/>
                <a:gd name="T11" fmla="*/ 478323 h 697"/>
                <a:gd name="T12" fmla="*/ 904608 w 705"/>
                <a:gd name="T13" fmla="*/ 890022 h 697"/>
                <a:gd name="T14" fmla="*/ 800359 w 705"/>
                <a:gd name="T15" fmla="*/ 1115517 h 697"/>
                <a:gd name="T16" fmla="*/ 435490 w 705"/>
                <a:gd name="T17" fmla="*/ 1320512 h 697"/>
                <a:gd name="T18" fmla="*/ 633898 w 705"/>
                <a:gd name="T19" fmla="*/ 1388844 h 697"/>
                <a:gd name="T20" fmla="*/ 568322 w 705"/>
                <a:gd name="T21" fmla="*/ 1481092 h 697"/>
                <a:gd name="T22" fmla="*/ 736465 w 705"/>
                <a:gd name="T23" fmla="*/ 1551132 h 697"/>
                <a:gd name="T24" fmla="*/ 800359 w 705"/>
                <a:gd name="T25" fmla="*/ 1639964 h 697"/>
                <a:gd name="T26" fmla="*/ 1207265 w 705"/>
                <a:gd name="T27" fmla="*/ 1663880 h 697"/>
                <a:gd name="T28" fmla="*/ 1340097 w 705"/>
                <a:gd name="T29" fmla="*/ 1687796 h 697"/>
                <a:gd name="T30" fmla="*/ 1607444 w 705"/>
                <a:gd name="T31" fmla="*/ 1822751 h 697"/>
                <a:gd name="T32" fmla="*/ 1775587 w 705"/>
                <a:gd name="T33" fmla="*/ 1889375 h 697"/>
                <a:gd name="T34" fmla="*/ 1805853 w 705"/>
                <a:gd name="T35" fmla="*/ 1774919 h 697"/>
                <a:gd name="T36" fmla="*/ 2007624 w 705"/>
                <a:gd name="T37" fmla="*/ 1983331 h 697"/>
                <a:gd name="T38" fmla="*/ 2074881 w 705"/>
                <a:gd name="T39" fmla="*/ 1935499 h 697"/>
                <a:gd name="T40" fmla="*/ 2308599 w 705"/>
                <a:gd name="T41" fmla="*/ 1935499 h 697"/>
                <a:gd name="T42" fmla="*/ 2473379 w 705"/>
                <a:gd name="T43" fmla="*/ 1797127 h 697"/>
                <a:gd name="T44" fmla="*/ 2510370 w 705"/>
                <a:gd name="T45" fmla="*/ 1505008 h 697"/>
                <a:gd name="T46" fmla="*/ 2776036 w 705"/>
                <a:gd name="T47" fmla="*/ 1527216 h 697"/>
                <a:gd name="T48" fmla="*/ 2844974 w 705"/>
                <a:gd name="T49" fmla="*/ 978853 h 697"/>
                <a:gd name="T50" fmla="*/ 2908869 w 705"/>
                <a:gd name="T51" fmla="*/ 842190 h 697"/>
                <a:gd name="T52" fmla="*/ 2945860 w 705"/>
                <a:gd name="T53" fmla="*/ 732859 h 697"/>
                <a:gd name="T54" fmla="*/ 2543999 w 705"/>
                <a:gd name="T55" fmla="*/ 910522 h 697"/>
                <a:gd name="T56" fmla="*/ 2340546 w 705"/>
                <a:gd name="T57" fmla="*/ 1026686 h 697"/>
                <a:gd name="T58" fmla="*/ 2044615 w 705"/>
                <a:gd name="T59" fmla="*/ 864398 h 697"/>
                <a:gd name="T60" fmla="*/ 1842844 w 705"/>
                <a:gd name="T61" fmla="*/ 796066 h 697"/>
                <a:gd name="T62" fmla="*/ 1572134 w 705"/>
                <a:gd name="T63" fmla="*/ 732859 h 697"/>
                <a:gd name="T64" fmla="*/ 1504877 w 705"/>
                <a:gd name="T65" fmla="*/ 685027 h 697"/>
                <a:gd name="T66" fmla="*/ 1405673 w 705"/>
                <a:gd name="T67" fmla="*/ 707234 h 697"/>
                <a:gd name="T68" fmla="*/ 1103016 w 705"/>
                <a:gd name="T69" fmla="*/ 365575 h 697"/>
                <a:gd name="T70" fmla="*/ 1040803 w 705"/>
                <a:gd name="T71" fmla="*/ 249411 h 697"/>
                <a:gd name="T72" fmla="*/ 605314 w 705"/>
                <a:gd name="T73" fmla="*/ 70040 h 697"/>
                <a:gd name="T74" fmla="*/ 68939 w 705"/>
                <a:gd name="T75" fmla="*/ 46124 h 69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05"/>
                <a:gd name="T115" fmla="*/ 0 h 697"/>
                <a:gd name="T116" fmla="*/ 705 w 705"/>
                <a:gd name="T117" fmla="*/ 697 h 69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05" h="697">
                  <a:moveTo>
                    <a:pt x="8" y="32"/>
                  </a:moveTo>
                  <a:lnTo>
                    <a:pt x="16" y="64"/>
                  </a:lnTo>
                  <a:lnTo>
                    <a:pt x="0" y="96"/>
                  </a:lnTo>
                  <a:lnTo>
                    <a:pt x="32" y="104"/>
                  </a:lnTo>
                  <a:lnTo>
                    <a:pt x="48" y="88"/>
                  </a:lnTo>
                  <a:lnTo>
                    <a:pt x="72" y="104"/>
                  </a:lnTo>
                  <a:lnTo>
                    <a:pt x="88" y="152"/>
                  </a:lnTo>
                  <a:lnTo>
                    <a:pt x="104" y="176"/>
                  </a:lnTo>
                  <a:lnTo>
                    <a:pt x="144" y="160"/>
                  </a:lnTo>
                  <a:lnTo>
                    <a:pt x="160" y="160"/>
                  </a:lnTo>
                  <a:lnTo>
                    <a:pt x="192" y="128"/>
                  </a:lnTo>
                  <a:lnTo>
                    <a:pt x="232" y="168"/>
                  </a:lnTo>
                  <a:lnTo>
                    <a:pt x="208" y="248"/>
                  </a:lnTo>
                  <a:lnTo>
                    <a:pt x="216" y="312"/>
                  </a:lnTo>
                  <a:lnTo>
                    <a:pt x="192" y="336"/>
                  </a:lnTo>
                  <a:lnTo>
                    <a:pt x="192" y="392"/>
                  </a:lnTo>
                  <a:lnTo>
                    <a:pt x="176" y="368"/>
                  </a:lnTo>
                  <a:lnTo>
                    <a:pt x="104" y="464"/>
                  </a:lnTo>
                  <a:lnTo>
                    <a:pt x="128" y="504"/>
                  </a:lnTo>
                  <a:lnTo>
                    <a:pt x="152" y="488"/>
                  </a:lnTo>
                  <a:lnTo>
                    <a:pt x="160" y="504"/>
                  </a:lnTo>
                  <a:lnTo>
                    <a:pt x="136" y="520"/>
                  </a:lnTo>
                  <a:lnTo>
                    <a:pt x="136" y="544"/>
                  </a:lnTo>
                  <a:lnTo>
                    <a:pt x="176" y="544"/>
                  </a:lnTo>
                  <a:lnTo>
                    <a:pt x="192" y="536"/>
                  </a:lnTo>
                  <a:lnTo>
                    <a:pt x="192" y="576"/>
                  </a:lnTo>
                  <a:lnTo>
                    <a:pt x="232" y="600"/>
                  </a:lnTo>
                  <a:lnTo>
                    <a:pt x="288" y="584"/>
                  </a:lnTo>
                  <a:lnTo>
                    <a:pt x="288" y="608"/>
                  </a:lnTo>
                  <a:lnTo>
                    <a:pt x="320" y="592"/>
                  </a:lnTo>
                  <a:lnTo>
                    <a:pt x="368" y="640"/>
                  </a:lnTo>
                  <a:lnTo>
                    <a:pt x="384" y="640"/>
                  </a:lnTo>
                  <a:lnTo>
                    <a:pt x="400" y="672"/>
                  </a:lnTo>
                  <a:lnTo>
                    <a:pt x="424" y="664"/>
                  </a:lnTo>
                  <a:lnTo>
                    <a:pt x="424" y="632"/>
                  </a:lnTo>
                  <a:lnTo>
                    <a:pt x="432" y="624"/>
                  </a:lnTo>
                  <a:lnTo>
                    <a:pt x="432" y="664"/>
                  </a:lnTo>
                  <a:lnTo>
                    <a:pt x="480" y="696"/>
                  </a:lnTo>
                  <a:lnTo>
                    <a:pt x="488" y="672"/>
                  </a:lnTo>
                  <a:lnTo>
                    <a:pt x="496" y="680"/>
                  </a:lnTo>
                  <a:lnTo>
                    <a:pt x="528" y="648"/>
                  </a:lnTo>
                  <a:lnTo>
                    <a:pt x="552" y="680"/>
                  </a:lnTo>
                  <a:lnTo>
                    <a:pt x="600" y="680"/>
                  </a:lnTo>
                  <a:lnTo>
                    <a:pt x="592" y="632"/>
                  </a:lnTo>
                  <a:lnTo>
                    <a:pt x="568" y="576"/>
                  </a:lnTo>
                  <a:lnTo>
                    <a:pt x="600" y="528"/>
                  </a:lnTo>
                  <a:lnTo>
                    <a:pt x="632" y="520"/>
                  </a:lnTo>
                  <a:lnTo>
                    <a:pt x="664" y="536"/>
                  </a:lnTo>
                  <a:lnTo>
                    <a:pt x="688" y="424"/>
                  </a:lnTo>
                  <a:lnTo>
                    <a:pt x="680" y="344"/>
                  </a:lnTo>
                  <a:lnTo>
                    <a:pt x="696" y="328"/>
                  </a:lnTo>
                  <a:lnTo>
                    <a:pt x="696" y="296"/>
                  </a:lnTo>
                  <a:lnTo>
                    <a:pt x="680" y="288"/>
                  </a:lnTo>
                  <a:lnTo>
                    <a:pt x="704" y="256"/>
                  </a:lnTo>
                  <a:lnTo>
                    <a:pt x="680" y="256"/>
                  </a:lnTo>
                  <a:lnTo>
                    <a:pt x="608" y="320"/>
                  </a:lnTo>
                  <a:lnTo>
                    <a:pt x="608" y="336"/>
                  </a:lnTo>
                  <a:lnTo>
                    <a:pt x="560" y="360"/>
                  </a:lnTo>
                  <a:lnTo>
                    <a:pt x="520" y="360"/>
                  </a:lnTo>
                  <a:lnTo>
                    <a:pt x="488" y="304"/>
                  </a:lnTo>
                  <a:lnTo>
                    <a:pt x="488" y="280"/>
                  </a:lnTo>
                  <a:lnTo>
                    <a:pt x="440" y="280"/>
                  </a:lnTo>
                  <a:lnTo>
                    <a:pt x="416" y="256"/>
                  </a:lnTo>
                  <a:lnTo>
                    <a:pt x="376" y="256"/>
                  </a:lnTo>
                  <a:lnTo>
                    <a:pt x="376" y="240"/>
                  </a:lnTo>
                  <a:lnTo>
                    <a:pt x="360" y="240"/>
                  </a:lnTo>
                  <a:lnTo>
                    <a:pt x="360" y="256"/>
                  </a:lnTo>
                  <a:lnTo>
                    <a:pt x="336" y="248"/>
                  </a:lnTo>
                  <a:lnTo>
                    <a:pt x="296" y="176"/>
                  </a:lnTo>
                  <a:lnTo>
                    <a:pt x="264" y="128"/>
                  </a:lnTo>
                  <a:lnTo>
                    <a:pt x="248" y="104"/>
                  </a:lnTo>
                  <a:lnTo>
                    <a:pt x="248" y="88"/>
                  </a:lnTo>
                  <a:lnTo>
                    <a:pt x="200" y="24"/>
                  </a:lnTo>
                  <a:lnTo>
                    <a:pt x="144" y="24"/>
                  </a:lnTo>
                  <a:lnTo>
                    <a:pt x="104" y="0"/>
                  </a:lnTo>
                  <a:lnTo>
                    <a:pt x="16" y="16"/>
                  </a:lnTo>
                  <a:lnTo>
                    <a:pt x="8" y="32"/>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23" name="Freeform 5"/>
            <p:cNvSpPr/>
            <p:nvPr/>
          </p:nvSpPr>
          <p:spPr bwMode="auto">
            <a:xfrm>
              <a:off x="4335281" y="921123"/>
              <a:ext cx="889755" cy="685451"/>
            </a:xfrm>
            <a:custGeom>
              <a:avLst/>
              <a:gdLst>
                <a:gd name="T0" fmla="*/ 2213455 w 529"/>
                <a:gd name="T1" fmla="*/ 417082 h 401"/>
                <a:gd name="T2" fmla="*/ 2008256 w 529"/>
                <a:gd name="T3" fmla="*/ 417082 h 401"/>
                <a:gd name="T4" fmla="*/ 1912385 w 529"/>
                <a:gd name="T5" fmla="*/ 345290 h 401"/>
                <a:gd name="T6" fmla="*/ 1776146 w 529"/>
                <a:gd name="T7" fmla="*/ 439304 h 401"/>
                <a:gd name="T8" fmla="*/ 1742507 w 529"/>
                <a:gd name="T9" fmla="*/ 391442 h 401"/>
                <a:gd name="T10" fmla="*/ 1710550 w 529"/>
                <a:gd name="T11" fmla="*/ 463235 h 401"/>
                <a:gd name="T12" fmla="*/ 1510397 w 529"/>
                <a:gd name="T13" fmla="*/ 367511 h 401"/>
                <a:gd name="T14" fmla="*/ 1510397 w 529"/>
                <a:gd name="T15" fmla="*/ 254694 h 401"/>
                <a:gd name="T16" fmla="*/ 1441437 w 529"/>
                <a:gd name="T17" fmla="*/ 276915 h 401"/>
                <a:gd name="T18" fmla="*/ 1478440 w 529"/>
                <a:gd name="T19" fmla="*/ 367511 h 401"/>
                <a:gd name="T20" fmla="*/ 1377522 w 529"/>
                <a:gd name="T21" fmla="*/ 367511 h 401"/>
                <a:gd name="T22" fmla="*/ 1308562 w 529"/>
                <a:gd name="T23" fmla="*/ 299137 h 401"/>
                <a:gd name="T24" fmla="*/ 1237920 w 529"/>
                <a:gd name="T25" fmla="*/ 299137 h 401"/>
                <a:gd name="T26" fmla="*/ 1041131 w 529"/>
                <a:gd name="T27" fmla="*/ 160679 h 401"/>
                <a:gd name="T28" fmla="*/ 904893 w 529"/>
                <a:gd name="T29" fmla="*/ 208541 h 401"/>
                <a:gd name="T30" fmla="*/ 904893 w 529"/>
                <a:gd name="T31" fmla="*/ 160679 h 401"/>
                <a:gd name="T32" fmla="*/ 667737 w 529"/>
                <a:gd name="T33" fmla="*/ 186320 h 401"/>
                <a:gd name="T34" fmla="*/ 504587 w 529"/>
                <a:gd name="T35" fmla="*/ 114527 h 401"/>
                <a:gd name="T36" fmla="*/ 504587 w 529"/>
                <a:gd name="T37" fmla="*/ 0 h 401"/>
                <a:gd name="T38" fmla="*/ 435627 w 529"/>
                <a:gd name="T39" fmla="*/ 22222 h 401"/>
                <a:gd name="T40" fmla="*/ 265749 w 529"/>
                <a:gd name="T41" fmla="*/ 22222 h 401"/>
                <a:gd name="T42" fmla="*/ 301070 w 529"/>
                <a:gd name="T43" fmla="*/ 160679 h 401"/>
                <a:gd name="T44" fmla="*/ 203517 w 529"/>
                <a:gd name="T45" fmla="*/ 160679 h 401"/>
                <a:gd name="T46" fmla="*/ 33639 w 529"/>
                <a:gd name="T47" fmla="*/ 92305 h 401"/>
                <a:gd name="T48" fmla="*/ 0 w 529"/>
                <a:gd name="T49" fmla="*/ 160679 h 401"/>
                <a:gd name="T50" fmla="*/ 132875 w 529"/>
                <a:gd name="T51" fmla="*/ 254694 h 401"/>
                <a:gd name="T52" fmla="*/ 100917 w 529"/>
                <a:gd name="T53" fmla="*/ 345290 h 401"/>
                <a:gd name="T54" fmla="*/ 203517 w 529"/>
                <a:gd name="T55" fmla="*/ 463235 h 401"/>
                <a:gd name="T56" fmla="*/ 366667 w 529"/>
                <a:gd name="T57" fmla="*/ 391442 h 401"/>
                <a:gd name="T58" fmla="*/ 467584 w 529"/>
                <a:gd name="T59" fmla="*/ 529900 h 401"/>
                <a:gd name="T60" fmla="*/ 467584 w 529"/>
                <a:gd name="T61" fmla="*/ 644427 h 401"/>
                <a:gd name="T62" fmla="*/ 634098 w 529"/>
                <a:gd name="T63" fmla="*/ 644427 h 401"/>
                <a:gd name="T64" fmla="*/ 703058 w 529"/>
                <a:gd name="T65" fmla="*/ 760663 h 401"/>
                <a:gd name="T66" fmla="*/ 736697 w 529"/>
                <a:gd name="T67" fmla="*/ 666648 h 401"/>
                <a:gd name="T68" fmla="*/ 872935 w 529"/>
                <a:gd name="T69" fmla="*/ 806815 h 401"/>
                <a:gd name="T70" fmla="*/ 970489 w 529"/>
                <a:gd name="T71" fmla="*/ 919633 h 401"/>
                <a:gd name="T72" fmla="*/ 970489 w 529"/>
                <a:gd name="T73" fmla="*/ 991425 h 401"/>
                <a:gd name="T74" fmla="*/ 1108409 w 529"/>
                <a:gd name="T75" fmla="*/ 1152105 h 401"/>
                <a:gd name="T76" fmla="*/ 1207645 w 529"/>
                <a:gd name="T77" fmla="*/ 1082021 h 401"/>
                <a:gd name="T78" fmla="*/ 1273241 w 529"/>
                <a:gd name="T79" fmla="*/ 943563 h 401"/>
                <a:gd name="T80" fmla="*/ 1340519 w 529"/>
                <a:gd name="T81" fmla="*/ 919633 h 401"/>
                <a:gd name="T82" fmla="*/ 1407798 w 529"/>
                <a:gd name="T83" fmla="*/ 943563 h 401"/>
                <a:gd name="T84" fmla="*/ 1377522 w 529"/>
                <a:gd name="T85" fmla="*/ 991425 h 401"/>
                <a:gd name="T86" fmla="*/ 1572629 w 529"/>
                <a:gd name="T87" fmla="*/ 991425 h 401"/>
                <a:gd name="T88" fmla="*/ 1643272 w 529"/>
                <a:gd name="T89" fmla="*/ 943563 h 401"/>
                <a:gd name="T90" fmla="*/ 1643272 w 529"/>
                <a:gd name="T91" fmla="*/ 897411 h 401"/>
                <a:gd name="T92" fmla="*/ 1609632 w 529"/>
                <a:gd name="T93" fmla="*/ 849549 h 401"/>
                <a:gd name="T94" fmla="*/ 1813149 w 529"/>
                <a:gd name="T95" fmla="*/ 782884 h 401"/>
                <a:gd name="T96" fmla="*/ 1843424 w 529"/>
                <a:gd name="T97" fmla="*/ 760663 h 401"/>
                <a:gd name="T98" fmla="*/ 1843424 w 529"/>
                <a:gd name="T99" fmla="*/ 711091 h 401"/>
                <a:gd name="T100" fmla="*/ 1912385 w 529"/>
                <a:gd name="T101" fmla="*/ 688870 h 401"/>
                <a:gd name="T102" fmla="*/ 1912385 w 529"/>
                <a:gd name="T103" fmla="*/ 552121 h 401"/>
                <a:gd name="T104" fmla="*/ 1981345 w 529"/>
                <a:gd name="T105" fmla="*/ 552121 h 401"/>
                <a:gd name="T106" fmla="*/ 2008256 w 529"/>
                <a:gd name="T107" fmla="*/ 620496 h 401"/>
                <a:gd name="T108" fmla="*/ 2112537 w 529"/>
                <a:gd name="T109" fmla="*/ 666648 h 401"/>
                <a:gd name="T110" fmla="*/ 2147858 w 529"/>
                <a:gd name="T111" fmla="*/ 644427 h 401"/>
                <a:gd name="T112" fmla="*/ 2112537 w 529"/>
                <a:gd name="T113" fmla="*/ 598274 h 401"/>
                <a:gd name="T114" fmla="*/ 2112537 w 529"/>
                <a:gd name="T115" fmla="*/ 552121 h 401"/>
                <a:gd name="T116" fmla="*/ 2213455 w 529"/>
                <a:gd name="T117" fmla="*/ 529900 h 401"/>
                <a:gd name="T118" fmla="*/ 2213455 w 529"/>
                <a:gd name="T119" fmla="*/ 417082 h 40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29"/>
                <a:gd name="T181" fmla="*/ 0 h 401"/>
                <a:gd name="T182" fmla="*/ 529 w 529"/>
                <a:gd name="T183" fmla="*/ 401 h 40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29" h="401">
                  <a:moveTo>
                    <a:pt x="528" y="144"/>
                  </a:moveTo>
                  <a:lnTo>
                    <a:pt x="480" y="144"/>
                  </a:lnTo>
                  <a:lnTo>
                    <a:pt x="456" y="120"/>
                  </a:lnTo>
                  <a:lnTo>
                    <a:pt x="424" y="152"/>
                  </a:lnTo>
                  <a:lnTo>
                    <a:pt x="416" y="136"/>
                  </a:lnTo>
                  <a:lnTo>
                    <a:pt x="408" y="160"/>
                  </a:lnTo>
                  <a:lnTo>
                    <a:pt x="360" y="128"/>
                  </a:lnTo>
                  <a:lnTo>
                    <a:pt x="360" y="88"/>
                  </a:lnTo>
                  <a:lnTo>
                    <a:pt x="344" y="96"/>
                  </a:lnTo>
                  <a:lnTo>
                    <a:pt x="352" y="128"/>
                  </a:lnTo>
                  <a:lnTo>
                    <a:pt x="328" y="128"/>
                  </a:lnTo>
                  <a:lnTo>
                    <a:pt x="312" y="104"/>
                  </a:lnTo>
                  <a:lnTo>
                    <a:pt x="296" y="104"/>
                  </a:lnTo>
                  <a:lnTo>
                    <a:pt x="248" y="56"/>
                  </a:lnTo>
                  <a:lnTo>
                    <a:pt x="216" y="72"/>
                  </a:lnTo>
                  <a:lnTo>
                    <a:pt x="216" y="56"/>
                  </a:lnTo>
                  <a:lnTo>
                    <a:pt x="160" y="64"/>
                  </a:lnTo>
                  <a:lnTo>
                    <a:pt x="120" y="40"/>
                  </a:lnTo>
                  <a:lnTo>
                    <a:pt x="120" y="0"/>
                  </a:lnTo>
                  <a:lnTo>
                    <a:pt x="104" y="8"/>
                  </a:lnTo>
                  <a:lnTo>
                    <a:pt x="64" y="8"/>
                  </a:lnTo>
                  <a:lnTo>
                    <a:pt x="72" y="56"/>
                  </a:lnTo>
                  <a:lnTo>
                    <a:pt x="48" y="56"/>
                  </a:lnTo>
                  <a:lnTo>
                    <a:pt x="8" y="32"/>
                  </a:lnTo>
                  <a:lnTo>
                    <a:pt x="0" y="56"/>
                  </a:lnTo>
                  <a:lnTo>
                    <a:pt x="32" y="88"/>
                  </a:lnTo>
                  <a:lnTo>
                    <a:pt x="24" y="120"/>
                  </a:lnTo>
                  <a:lnTo>
                    <a:pt x="48" y="160"/>
                  </a:lnTo>
                  <a:lnTo>
                    <a:pt x="88" y="136"/>
                  </a:lnTo>
                  <a:lnTo>
                    <a:pt x="112" y="184"/>
                  </a:lnTo>
                  <a:lnTo>
                    <a:pt x="112" y="224"/>
                  </a:lnTo>
                  <a:lnTo>
                    <a:pt x="152" y="224"/>
                  </a:lnTo>
                  <a:lnTo>
                    <a:pt x="168" y="264"/>
                  </a:lnTo>
                  <a:lnTo>
                    <a:pt x="176" y="232"/>
                  </a:lnTo>
                  <a:lnTo>
                    <a:pt x="208" y="280"/>
                  </a:lnTo>
                  <a:lnTo>
                    <a:pt x="232" y="320"/>
                  </a:lnTo>
                  <a:lnTo>
                    <a:pt x="232" y="344"/>
                  </a:lnTo>
                  <a:lnTo>
                    <a:pt x="264" y="400"/>
                  </a:lnTo>
                  <a:lnTo>
                    <a:pt x="288" y="376"/>
                  </a:lnTo>
                  <a:lnTo>
                    <a:pt x="304" y="328"/>
                  </a:lnTo>
                  <a:lnTo>
                    <a:pt x="320" y="320"/>
                  </a:lnTo>
                  <a:lnTo>
                    <a:pt x="336" y="328"/>
                  </a:lnTo>
                  <a:lnTo>
                    <a:pt x="328" y="344"/>
                  </a:lnTo>
                  <a:lnTo>
                    <a:pt x="376" y="344"/>
                  </a:lnTo>
                  <a:lnTo>
                    <a:pt x="392" y="328"/>
                  </a:lnTo>
                  <a:lnTo>
                    <a:pt x="392" y="312"/>
                  </a:lnTo>
                  <a:lnTo>
                    <a:pt x="384" y="296"/>
                  </a:lnTo>
                  <a:lnTo>
                    <a:pt x="432" y="272"/>
                  </a:lnTo>
                  <a:lnTo>
                    <a:pt x="440" y="264"/>
                  </a:lnTo>
                  <a:lnTo>
                    <a:pt x="440" y="248"/>
                  </a:lnTo>
                  <a:lnTo>
                    <a:pt x="456" y="240"/>
                  </a:lnTo>
                  <a:lnTo>
                    <a:pt x="456" y="192"/>
                  </a:lnTo>
                  <a:lnTo>
                    <a:pt x="472" y="192"/>
                  </a:lnTo>
                  <a:lnTo>
                    <a:pt x="480" y="216"/>
                  </a:lnTo>
                  <a:lnTo>
                    <a:pt x="504" y="232"/>
                  </a:lnTo>
                  <a:lnTo>
                    <a:pt x="512" y="224"/>
                  </a:lnTo>
                  <a:lnTo>
                    <a:pt x="504" y="208"/>
                  </a:lnTo>
                  <a:lnTo>
                    <a:pt x="504" y="192"/>
                  </a:lnTo>
                  <a:lnTo>
                    <a:pt x="528" y="184"/>
                  </a:lnTo>
                  <a:lnTo>
                    <a:pt x="528" y="144"/>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24" name="Freeform 6"/>
            <p:cNvSpPr/>
            <p:nvPr/>
          </p:nvSpPr>
          <p:spPr bwMode="auto">
            <a:xfrm>
              <a:off x="4147521" y="1301587"/>
              <a:ext cx="634739" cy="673128"/>
            </a:xfrm>
            <a:custGeom>
              <a:avLst/>
              <a:gdLst>
                <a:gd name="T0" fmla="*/ 1584322 w 377"/>
                <a:gd name="T1" fmla="*/ 512125 h 393"/>
                <a:gd name="T2" fmla="*/ 1417640 w 377"/>
                <a:gd name="T3" fmla="*/ 347697 h 393"/>
                <a:gd name="T4" fmla="*/ 1447946 w 377"/>
                <a:gd name="T5" fmla="*/ 279185 h 393"/>
                <a:gd name="T6" fmla="*/ 1316620 w 377"/>
                <a:gd name="T7" fmla="*/ 114757 h 393"/>
                <a:gd name="T8" fmla="*/ 1215601 w 377"/>
                <a:gd name="T9" fmla="*/ 22266 h 393"/>
                <a:gd name="T10" fmla="*/ 1180244 w 377"/>
                <a:gd name="T11" fmla="*/ 114757 h 393"/>
                <a:gd name="T12" fmla="*/ 1112898 w 377"/>
                <a:gd name="T13" fmla="*/ 0 h 393"/>
                <a:gd name="T14" fmla="*/ 979889 w 377"/>
                <a:gd name="T15" fmla="*/ 0 h 393"/>
                <a:gd name="T16" fmla="*/ 1011878 w 377"/>
                <a:gd name="T17" fmla="*/ 70225 h 393"/>
                <a:gd name="T18" fmla="*/ 841829 w 377"/>
                <a:gd name="T19" fmla="*/ 164428 h 393"/>
                <a:gd name="T20" fmla="*/ 740809 w 377"/>
                <a:gd name="T21" fmla="*/ 164428 h 393"/>
                <a:gd name="T22" fmla="*/ 203723 w 377"/>
                <a:gd name="T23" fmla="*/ 419635 h 393"/>
                <a:gd name="T24" fmla="*/ 101019 w 377"/>
                <a:gd name="T25" fmla="*/ 327144 h 393"/>
                <a:gd name="T26" fmla="*/ 33673 w 377"/>
                <a:gd name="T27" fmla="*/ 327144 h 393"/>
                <a:gd name="T28" fmla="*/ 69030 w 377"/>
                <a:gd name="T29" fmla="*/ 395655 h 393"/>
                <a:gd name="T30" fmla="*/ 69030 w 377"/>
                <a:gd name="T31" fmla="*/ 465880 h 393"/>
                <a:gd name="T32" fmla="*/ 101019 w 377"/>
                <a:gd name="T33" fmla="*/ 537817 h 393"/>
                <a:gd name="T34" fmla="*/ 33673 w 377"/>
                <a:gd name="T35" fmla="*/ 537817 h 393"/>
                <a:gd name="T36" fmla="*/ 33673 w 377"/>
                <a:gd name="T37" fmla="*/ 628595 h 393"/>
                <a:gd name="T38" fmla="*/ 0 w 377"/>
                <a:gd name="T39" fmla="*/ 676554 h 393"/>
                <a:gd name="T40" fmla="*/ 133009 w 377"/>
                <a:gd name="T41" fmla="*/ 698820 h 393"/>
                <a:gd name="T42" fmla="*/ 272753 w 377"/>
                <a:gd name="T43" fmla="*/ 863248 h 393"/>
                <a:gd name="T44" fmla="*/ 437751 w 377"/>
                <a:gd name="T45" fmla="*/ 698820 h 393"/>
                <a:gd name="T46" fmla="*/ 505097 w 377"/>
                <a:gd name="T47" fmla="*/ 606329 h 393"/>
                <a:gd name="T48" fmla="*/ 675147 w 377"/>
                <a:gd name="T49" fmla="*/ 582350 h 393"/>
                <a:gd name="T50" fmla="*/ 779534 w 377"/>
                <a:gd name="T51" fmla="*/ 628595 h 393"/>
                <a:gd name="T52" fmla="*/ 779534 w 377"/>
                <a:gd name="T53" fmla="*/ 650862 h 393"/>
                <a:gd name="T54" fmla="*/ 811523 w 377"/>
                <a:gd name="T55" fmla="*/ 650862 h 393"/>
                <a:gd name="T56" fmla="*/ 710504 w 377"/>
                <a:gd name="T57" fmla="*/ 815290 h 393"/>
                <a:gd name="T58" fmla="*/ 641474 w 377"/>
                <a:gd name="T59" fmla="*/ 815290 h 393"/>
                <a:gd name="T60" fmla="*/ 675147 w 377"/>
                <a:gd name="T61" fmla="*/ 907781 h 393"/>
                <a:gd name="T62" fmla="*/ 641474 w 377"/>
                <a:gd name="T63" fmla="*/ 931760 h 393"/>
                <a:gd name="T64" fmla="*/ 710504 w 377"/>
                <a:gd name="T65" fmla="*/ 931760 h 393"/>
                <a:gd name="T66" fmla="*/ 574127 w 377"/>
                <a:gd name="T67" fmla="*/ 1094475 h 393"/>
                <a:gd name="T68" fmla="*/ 606117 w 377"/>
                <a:gd name="T69" fmla="*/ 1140721 h 393"/>
                <a:gd name="T70" fmla="*/ 675147 w 377"/>
                <a:gd name="T71" fmla="*/ 1094475 h 393"/>
                <a:gd name="T72" fmla="*/ 710504 w 377"/>
                <a:gd name="T73" fmla="*/ 1024251 h 393"/>
                <a:gd name="T74" fmla="*/ 779534 w 377"/>
                <a:gd name="T75" fmla="*/ 1024251 h 393"/>
                <a:gd name="T76" fmla="*/ 841829 w 377"/>
                <a:gd name="T77" fmla="*/ 981431 h 393"/>
                <a:gd name="T78" fmla="*/ 841829 w 377"/>
                <a:gd name="T79" fmla="*/ 907781 h 393"/>
                <a:gd name="T80" fmla="*/ 1082592 w 377"/>
                <a:gd name="T81" fmla="*/ 815290 h 393"/>
                <a:gd name="T82" fmla="*/ 1281264 w 377"/>
                <a:gd name="T83" fmla="*/ 770757 h 393"/>
                <a:gd name="T84" fmla="*/ 1316620 w 377"/>
                <a:gd name="T85" fmla="*/ 650862 h 393"/>
                <a:gd name="T86" fmla="*/ 1447946 w 377"/>
                <a:gd name="T87" fmla="*/ 582350 h 393"/>
                <a:gd name="T88" fmla="*/ 1552333 w 377"/>
                <a:gd name="T89" fmla="*/ 560084 h 393"/>
                <a:gd name="T90" fmla="*/ 1584322 w 377"/>
                <a:gd name="T91" fmla="*/ 512125 h 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77"/>
                <a:gd name="T139" fmla="*/ 0 h 393"/>
                <a:gd name="T140" fmla="*/ 377 w 377"/>
                <a:gd name="T141" fmla="*/ 393 h 39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77" h="393">
                  <a:moveTo>
                    <a:pt x="376" y="176"/>
                  </a:moveTo>
                  <a:lnTo>
                    <a:pt x="336" y="120"/>
                  </a:lnTo>
                  <a:lnTo>
                    <a:pt x="344" y="96"/>
                  </a:lnTo>
                  <a:lnTo>
                    <a:pt x="312" y="40"/>
                  </a:lnTo>
                  <a:lnTo>
                    <a:pt x="288" y="8"/>
                  </a:lnTo>
                  <a:lnTo>
                    <a:pt x="280" y="40"/>
                  </a:lnTo>
                  <a:lnTo>
                    <a:pt x="264" y="0"/>
                  </a:lnTo>
                  <a:lnTo>
                    <a:pt x="232" y="0"/>
                  </a:lnTo>
                  <a:lnTo>
                    <a:pt x="240" y="24"/>
                  </a:lnTo>
                  <a:lnTo>
                    <a:pt x="200" y="56"/>
                  </a:lnTo>
                  <a:lnTo>
                    <a:pt x="176" y="56"/>
                  </a:lnTo>
                  <a:lnTo>
                    <a:pt x="48" y="144"/>
                  </a:lnTo>
                  <a:lnTo>
                    <a:pt x="24" y="112"/>
                  </a:lnTo>
                  <a:lnTo>
                    <a:pt x="8" y="112"/>
                  </a:lnTo>
                  <a:lnTo>
                    <a:pt x="16" y="136"/>
                  </a:lnTo>
                  <a:lnTo>
                    <a:pt x="16" y="160"/>
                  </a:lnTo>
                  <a:lnTo>
                    <a:pt x="24" y="184"/>
                  </a:lnTo>
                  <a:lnTo>
                    <a:pt x="8" y="184"/>
                  </a:lnTo>
                  <a:lnTo>
                    <a:pt x="8" y="216"/>
                  </a:lnTo>
                  <a:lnTo>
                    <a:pt x="0" y="232"/>
                  </a:lnTo>
                  <a:lnTo>
                    <a:pt x="32" y="240"/>
                  </a:lnTo>
                  <a:lnTo>
                    <a:pt x="64" y="296"/>
                  </a:lnTo>
                  <a:lnTo>
                    <a:pt x="104" y="240"/>
                  </a:lnTo>
                  <a:lnTo>
                    <a:pt x="120" y="208"/>
                  </a:lnTo>
                  <a:lnTo>
                    <a:pt x="160" y="200"/>
                  </a:lnTo>
                  <a:lnTo>
                    <a:pt x="184" y="216"/>
                  </a:lnTo>
                  <a:lnTo>
                    <a:pt x="184" y="224"/>
                  </a:lnTo>
                  <a:lnTo>
                    <a:pt x="192" y="224"/>
                  </a:lnTo>
                  <a:lnTo>
                    <a:pt x="168" y="280"/>
                  </a:lnTo>
                  <a:lnTo>
                    <a:pt x="152" y="280"/>
                  </a:lnTo>
                  <a:lnTo>
                    <a:pt x="160" y="312"/>
                  </a:lnTo>
                  <a:lnTo>
                    <a:pt x="152" y="320"/>
                  </a:lnTo>
                  <a:lnTo>
                    <a:pt x="168" y="320"/>
                  </a:lnTo>
                  <a:lnTo>
                    <a:pt x="136" y="376"/>
                  </a:lnTo>
                  <a:lnTo>
                    <a:pt x="144" y="392"/>
                  </a:lnTo>
                  <a:lnTo>
                    <a:pt x="160" y="376"/>
                  </a:lnTo>
                  <a:lnTo>
                    <a:pt x="168" y="352"/>
                  </a:lnTo>
                  <a:lnTo>
                    <a:pt x="184" y="352"/>
                  </a:lnTo>
                  <a:lnTo>
                    <a:pt x="200" y="336"/>
                  </a:lnTo>
                  <a:lnTo>
                    <a:pt x="200" y="312"/>
                  </a:lnTo>
                  <a:lnTo>
                    <a:pt x="256" y="280"/>
                  </a:lnTo>
                  <a:lnTo>
                    <a:pt x="304" y="264"/>
                  </a:lnTo>
                  <a:lnTo>
                    <a:pt x="312" y="224"/>
                  </a:lnTo>
                  <a:lnTo>
                    <a:pt x="344" y="200"/>
                  </a:lnTo>
                  <a:lnTo>
                    <a:pt x="368" y="192"/>
                  </a:lnTo>
                  <a:lnTo>
                    <a:pt x="376" y="176"/>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25" name="Freeform 7"/>
            <p:cNvSpPr/>
            <p:nvPr/>
          </p:nvSpPr>
          <p:spPr bwMode="auto">
            <a:xfrm>
              <a:off x="3664111" y="1454080"/>
              <a:ext cx="592703" cy="916502"/>
            </a:xfrm>
            <a:custGeom>
              <a:avLst/>
              <a:gdLst>
                <a:gd name="T0" fmla="*/ 1326446 w 353"/>
                <a:gd name="T1" fmla="*/ 453984 h 537"/>
                <a:gd name="T2" fmla="*/ 1227382 w 353"/>
                <a:gd name="T3" fmla="*/ 273073 h 537"/>
                <a:gd name="T4" fmla="*/ 1030934 w 353"/>
                <a:gd name="T5" fmla="*/ 252593 h 537"/>
                <a:gd name="T6" fmla="*/ 926833 w 353"/>
                <a:gd name="T7" fmla="*/ 0 h 537"/>
                <a:gd name="T8" fmla="*/ 730385 w 353"/>
                <a:gd name="T9" fmla="*/ 186031 h 537"/>
                <a:gd name="T10" fmla="*/ 564159 w 353"/>
                <a:gd name="T11" fmla="*/ 230406 h 537"/>
                <a:gd name="T12" fmla="*/ 332451 w 353"/>
                <a:gd name="T13" fmla="*/ 295260 h 537"/>
                <a:gd name="T14" fmla="*/ 132645 w 353"/>
                <a:gd name="T15" fmla="*/ 208218 h 537"/>
                <a:gd name="T16" fmla="*/ 33581 w 353"/>
                <a:gd name="T17" fmla="*/ 343048 h 537"/>
                <a:gd name="T18" fmla="*/ 231708 w 353"/>
                <a:gd name="T19" fmla="*/ 571747 h 537"/>
                <a:gd name="T20" fmla="*/ 100743 w 353"/>
                <a:gd name="T21" fmla="*/ 662203 h 537"/>
                <a:gd name="T22" fmla="*/ 265289 w 353"/>
                <a:gd name="T23" fmla="*/ 774845 h 537"/>
                <a:gd name="T24" fmla="*/ 132645 w 353"/>
                <a:gd name="T25" fmla="*/ 819220 h 537"/>
                <a:gd name="T26" fmla="*/ 68841 w 353"/>
                <a:gd name="T27" fmla="*/ 931862 h 537"/>
                <a:gd name="T28" fmla="*/ 132645 w 353"/>
                <a:gd name="T29" fmla="*/ 1140081 h 537"/>
                <a:gd name="T30" fmla="*/ 100743 w 353"/>
                <a:gd name="T31" fmla="*/ 1457528 h 537"/>
                <a:gd name="T32" fmla="*/ 364353 w 353"/>
                <a:gd name="T33" fmla="*/ 1505316 h 537"/>
                <a:gd name="T34" fmla="*/ 465096 w 353"/>
                <a:gd name="T35" fmla="*/ 1457528 h 537"/>
                <a:gd name="T36" fmla="*/ 629642 w 353"/>
                <a:gd name="T37" fmla="*/ 1208349 h 537"/>
                <a:gd name="T38" fmla="*/ 962093 w 353"/>
                <a:gd name="T39" fmla="*/ 1071812 h 537"/>
                <a:gd name="T40" fmla="*/ 995674 w 353"/>
                <a:gd name="T41" fmla="*/ 981357 h 537"/>
                <a:gd name="T42" fmla="*/ 799226 w 353"/>
                <a:gd name="T43" fmla="*/ 911382 h 537"/>
                <a:gd name="T44" fmla="*/ 762287 w 353"/>
                <a:gd name="T45" fmla="*/ 819220 h 537"/>
                <a:gd name="T46" fmla="*/ 666581 w 353"/>
                <a:gd name="T47" fmla="*/ 754365 h 537"/>
                <a:gd name="T48" fmla="*/ 434873 w 353"/>
                <a:gd name="T49" fmla="*/ 732178 h 537"/>
                <a:gd name="T50" fmla="*/ 564159 w 353"/>
                <a:gd name="T51" fmla="*/ 477878 h 537"/>
                <a:gd name="T52" fmla="*/ 666581 w 353"/>
                <a:gd name="T53" fmla="*/ 387423 h 537"/>
                <a:gd name="T54" fmla="*/ 799226 w 353"/>
                <a:gd name="T55" fmla="*/ 431797 h 537"/>
                <a:gd name="T56" fmla="*/ 861350 w 353"/>
                <a:gd name="T57" fmla="*/ 523959 h 537"/>
                <a:gd name="T58" fmla="*/ 926833 w 353"/>
                <a:gd name="T59" fmla="*/ 571747 h 537"/>
                <a:gd name="T60" fmla="*/ 1062836 w 353"/>
                <a:gd name="T61" fmla="*/ 732178 h 537"/>
                <a:gd name="T62" fmla="*/ 1129998 w 353"/>
                <a:gd name="T63" fmla="*/ 819220 h 537"/>
                <a:gd name="T64" fmla="*/ 1360027 w 353"/>
                <a:gd name="T65" fmla="*/ 616121 h 5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53"/>
                <a:gd name="T100" fmla="*/ 0 h 537"/>
                <a:gd name="T101" fmla="*/ 353 w 353"/>
                <a:gd name="T102" fmla="*/ 537 h 5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53" h="537">
                  <a:moveTo>
                    <a:pt x="352" y="208"/>
                  </a:moveTo>
                  <a:lnTo>
                    <a:pt x="320" y="160"/>
                  </a:lnTo>
                  <a:lnTo>
                    <a:pt x="288" y="152"/>
                  </a:lnTo>
                  <a:lnTo>
                    <a:pt x="296" y="96"/>
                  </a:lnTo>
                  <a:lnTo>
                    <a:pt x="264" y="104"/>
                  </a:lnTo>
                  <a:lnTo>
                    <a:pt x="248" y="88"/>
                  </a:lnTo>
                  <a:lnTo>
                    <a:pt x="248" y="48"/>
                  </a:lnTo>
                  <a:lnTo>
                    <a:pt x="224" y="0"/>
                  </a:lnTo>
                  <a:lnTo>
                    <a:pt x="176" y="24"/>
                  </a:lnTo>
                  <a:lnTo>
                    <a:pt x="176" y="64"/>
                  </a:lnTo>
                  <a:lnTo>
                    <a:pt x="144" y="56"/>
                  </a:lnTo>
                  <a:lnTo>
                    <a:pt x="136" y="80"/>
                  </a:lnTo>
                  <a:lnTo>
                    <a:pt x="112" y="72"/>
                  </a:lnTo>
                  <a:lnTo>
                    <a:pt x="80" y="104"/>
                  </a:lnTo>
                  <a:lnTo>
                    <a:pt x="56" y="56"/>
                  </a:lnTo>
                  <a:lnTo>
                    <a:pt x="32" y="72"/>
                  </a:lnTo>
                  <a:lnTo>
                    <a:pt x="24" y="112"/>
                  </a:lnTo>
                  <a:lnTo>
                    <a:pt x="8" y="120"/>
                  </a:lnTo>
                  <a:lnTo>
                    <a:pt x="32" y="184"/>
                  </a:lnTo>
                  <a:lnTo>
                    <a:pt x="56" y="200"/>
                  </a:lnTo>
                  <a:lnTo>
                    <a:pt x="32" y="216"/>
                  </a:lnTo>
                  <a:lnTo>
                    <a:pt x="24" y="232"/>
                  </a:lnTo>
                  <a:lnTo>
                    <a:pt x="56" y="232"/>
                  </a:lnTo>
                  <a:lnTo>
                    <a:pt x="64" y="272"/>
                  </a:lnTo>
                  <a:lnTo>
                    <a:pt x="48" y="304"/>
                  </a:lnTo>
                  <a:lnTo>
                    <a:pt x="32" y="288"/>
                  </a:lnTo>
                  <a:lnTo>
                    <a:pt x="16" y="304"/>
                  </a:lnTo>
                  <a:lnTo>
                    <a:pt x="16" y="328"/>
                  </a:lnTo>
                  <a:lnTo>
                    <a:pt x="0" y="344"/>
                  </a:lnTo>
                  <a:lnTo>
                    <a:pt x="32" y="400"/>
                  </a:lnTo>
                  <a:lnTo>
                    <a:pt x="8" y="488"/>
                  </a:lnTo>
                  <a:lnTo>
                    <a:pt x="24" y="512"/>
                  </a:lnTo>
                  <a:lnTo>
                    <a:pt x="72" y="512"/>
                  </a:lnTo>
                  <a:lnTo>
                    <a:pt x="88" y="528"/>
                  </a:lnTo>
                  <a:lnTo>
                    <a:pt x="128" y="536"/>
                  </a:lnTo>
                  <a:lnTo>
                    <a:pt x="112" y="512"/>
                  </a:lnTo>
                  <a:lnTo>
                    <a:pt x="120" y="480"/>
                  </a:lnTo>
                  <a:lnTo>
                    <a:pt x="152" y="424"/>
                  </a:lnTo>
                  <a:lnTo>
                    <a:pt x="192" y="384"/>
                  </a:lnTo>
                  <a:lnTo>
                    <a:pt x="232" y="376"/>
                  </a:lnTo>
                  <a:lnTo>
                    <a:pt x="248" y="360"/>
                  </a:lnTo>
                  <a:lnTo>
                    <a:pt x="240" y="344"/>
                  </a:lnTo>
                  <a:lnTo>
                    <a:pt x="224" y="312"/>
                  </a:lnTo>
                  <a:lnTo>
                    <a:pt x="192" y="320"/>
                  </a:lnTo>
                  <a:lnTo>
                    <a:pt x="176" y="312"/>
                  </a:lnTo>
                  <a:lnTo>
                    <a:pt x="184" y="288"/>
                  </a:lnTo>
                  <a:lnTo>
                    <a:pt x="184" y="248"/>
                  </a:lnTo>
                  <a:lnTo>
                    <a:pt x="160" y="264"/>
                  </a:lnTo>
                  <a:lnTo>
                    <a:pt x="128" y="256"/>
                  </a:lnTo>
                  <a:lnTo>
                    <a:pt x="104" y="256"/>
                  </a:lnTo>
                  <a:lnTo>
                    <a:pt x="104" y="224"/>
                  </a:lnTo>
                  <a:lnTo>
                    <a:pt x="136" y="168"/>
                  </a:lnTo>
                  <a:lnTo>
                    <a:pt x="152" y="168"/>
                  </a:lnTo>
                  <a:lnTo>
                    <a:pt x="160" y="136"/>
                  </a:lnTo>
                  <a:lnTo>
                    <a:pt x="176" y="136"/>
                  </a:lnTo>
                  <a:lnTo>
                    <a:pt x="192" y="152"/>
                  </a:lnTo>
                  <a:lnTo>
                    <a:pt x="216" y="152"/>
                  </a:lnTo>
                  <a:lnTo>
                    <a:pt x="208" y="184"/>
                  </a:lnTo>
                  <a:lnTo>
                    <a:pt x="208" y="200"/>
                  </a:lnTo>
                  <a:lnTo>
                    <a:pt x="224" y="200"/>
                  </a:lnTo>
                  <a:lnTo>
                    <a:pt x="224" y="232"/>
                  </a:lnTo>
                  <a:lnTo>
                    <a:pt x="256" y="256"/>
                  </a:lnTo>
                  <a:lnTo>
                    <a:pt x="264" y="280"/>
                  </a:lnTo>
                  <a:lnTo>
                    <a:pt x="272" y="288"/>
                  </a:lnTo>
                  <a:lnTo>
                    <a:pt x="312" y="256"/>
                  </a:lnTo>
                  <a:lnTo>
                    <a:pt x="328" y="216"/>
                  </a:lnTo>
                  <a:lnTo>
                    <a:pt x="352" y="208"/>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26" name="Freeform 8"/>
            <p:cNvSpPr/>
            <p:nvPr/>
          </p:nvSpPr>
          <p:spPr bwMode="auto">
            <a:xfrm>
              <a:off x="3836457" y="1686671"/>
              <a:ext cx="190562" cy="218728"/>
            </a:xfrm>
            <a:custGeom>
              <a:avLst/>
              <a:gdLst>
                <a:gd name="T0" fmla="*/ 477248 w 113"/>
                <a:gd name="T1" fmla="*/ 174643 h 129"/>
                <a:gd name="T2" fmla="*/ 409793 w 113"/>
                <a:gd name="T3" fmla="*/ 108516 h 129"/>
                <a:gd name="T4" fmla="*/ 477248 w 113"/>
                <a:gd name="T5" fmla="*/ 44085 h 129"/>
                <a:gd name="T6" fmla="*/ 340651 w 113"/>
                <a:gd name="T7" fmla="*/ 44085 h 129"/>
                <a:gd name="T8" fmla="*/ 308609 w 113"/>
                <a:gd name="T9" fmla="*/ 0 h 129"/>
                <a:gd name="T10" fmla="*/ 237781 w 113"/>
                <a:gd name="T11" fmla="*/ 0 h 129"/>
                <a:gd name="T12" fmla="*/ 205740 w 113"/>
                <a:gd name="T13" fmla="*/ 88169 h 129"/>
                <a:gd name="T14" fmla="*/ 139970 w 113"/>
                <a:gd name="T15" fmla="*/ 88169 h 129"/>
                <a:gd name="T16" fmla="*/ 0 w 113"/>
                <a:gd name="T17" fmla="*/ 242466 h 129"/>
                <a:gd name="T18" fmla="*/ 0 w 113"/>
                <a:gd name="T19" fmla="*/ 328940 h 129"/>
                <a:gd name="T20" fmla="*/ 139970 w 113"/>
                <a:gd name="T21" fmla="*/ 328940 h 129"/>
                <a:gd name="T22" fmla="*/ 205740 w 113"/>
                <a:gd name="T23" fmla="*/ 350982 h 129"/>
                <a:gd name="T24" fmla="*/ 340651 w 113"/>
                <a:gd name="T25" fmla="*/ 306897 h 129"/>
                <a:gd name="T26" fmla="*/ 340651 w 113"/>
                <a:gd name="T27" fmla="*/ 264508 h 129"/>
                <a:gd name="T28" fmla="*/ 308609 w 113"/>
                <a:gd name="T29" fmla="*/ 220424 h 129"/>
                <a:gd name="T30" fmla="*/ 409793 w 113"/>
                <a:gd name="T31" fmla="*/ 220424 h 129"/>
                <a:gd name="T32" fmla="*/ 477248 w 113"/>
                <a:gd name="T33" fmla="*/ 174643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3"/>
                <a:gd name="T52" fmla="*/ 0 h 129"/>
                <a:gd name="T53" fmla="*/ 113 w 113"/>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3" h="129">
                  <a:moveTo>
                    <a:pt x="112" y="64"/>
                  </a:moveTo>
                  <a:lnTo>
                    <a:pt x="96" y="40"/>
                  </a:lnTo>
                  <a:lnTo>
                    <a:pt x="112" y="16"/>
                  </a:lnTo>
                  <a:lnTo>
                    <a:pt x="80" y="16"/>
                  </a:lnTo>
                  <a:lnTo>
                    <a:pt x="72" y="0"/>
                  </a:lnTo>
                  <a:lnTo>
                    <a:pt x="56" y="0"/>
                  </a:lnTo>
                  <a:lnTo>
                    <a:pt x="48" y="32"/>
                  </a:lnTo>
                  <a:lnTo>
                    <a:pt x="32" y="32"/>
                  </a:lnTo>
                  <a:lnTo>
                    <a:pt x="0" y="88"/>
                  </a:lnTo>
                  <a:lnTo>
                    <a:pt x="0" y="120"/>
                  </a:lnTo>
                  <a:lnTo>
                    <a:pt x="32" y="120"/>
                  </a:lnTo>
                  <a:lnTo>
                    <a:pt x="48" y="128"/>
                  </a:lnTo>
                  <a:lnTo>
                    <a:pt x="80" y="112"/>
                  </a:lnTo>
                  <a:lnTo>
                    <a:pt x="80" y="96"/>
                  </a:lnTo>
                  <a:lnTo>
                    <a:pt x="72" y="80"/>
                  </a:lnTo>
                  <a:lnTo>
                    <a:pt x="96" y="80"/>
                  </a:lnTo>
                  <a:lnTo>
                    <a:pt x="112" y="64"/>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27" name="Freeform 9"/>
            <p:cNvSpPr/>
            <p:nvPr/>
          </p:nvSpPr>
          <p:spPr bwMode="auto">
            <a:xfrm>
              <a:off x="3958361" y="1794495"/>
              <a:ext cx="149927" cy="206405"/>
            </a:xfrm>
            <a:custGeom>
              <a:avLst/>
              <a:gdLst>
                <a:gd name="T0" fmla="*/ 372291 w 89"/>
                <a:gd name="T1" fmla="*/ 230287 h 121"/>
                <a:gd name="T2" fmla="*/ 336915 w 89"/>
                <a:gd name="T3" fmla="*/ 158642 h 121"/>
                <a:gd name="T4" fmla="*/ 237525 w 89"/>
                <a:gd name="T5" fmla="*/ 112585 h 121"/>
                <a:gd name="T6" fmla="*/ 203833 w 89"/>
                <a:gd name="T7" fmla="*/ 22176 h 121"/>
                <a:gd name="T8" fmla="*/ 133081 w 89"/>
                <a:gd name="T9" fmla="*/ 0 h 121"/>
                <a:gd name="T10" fmla="*/ 101074 w 89"/>
                <a:gd name="T11" fmla="*/ 22176 h 121"/>
                <a:gd name="T12" fmla="*/ 133081 w 89"/>
                <a:gd name="T13" fmla="*/ 136466 h 121"/>
                <a:gd name="T14" fmla="*/ 33691 w 89"/>
                <a:gd name="T15" fmla="*/ 136466 h 121"/>
                <a:gd name="T16" fmla="*/ 0 w 89"/>
                <a:gd name="T17" fmla="*/ 317284 h 121"/>
                <a:gd name="T18" fmla="*/ 69067 w 89"/>
                <a:gd name="T19" fmla="*/ 341165 h 121"/>
                <a:gd name="T20" fmla="*/ 237525 w 89"/>
                <a:gd name="T21" fmla="*/ 317284 h 121"/>
                <a:gd name="T22" fmla="*/ 237525 w 89"/>
                <a:gd name="T23" fmla="*/ 230287 h 121"/>
                <a:gd name="T24" fmla="*/ 372291 w 89"/>
                <a:gd name="T25" fmla="*/ 230287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21"/>
                <a:gd name="T41" fmla="*/ 89 w 89"/>
                <a:gd name="T42" fmla="*/ 121 h 1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21">
                  <a:moveTo>
                    <a:pt x="88" y="80"/>
                  </a:moveTo>
                  <a:lnTo>
                    <a:pt x="80" y="56"/>
                  </a:lnTo>
                  <a:lnTo>
                    <a:pt x="56" y="40"/>
                  </a:lnTo>
                  <a:lnTo>
                    <a:pt x="48" y="8"/>
                  </a:lnTo>
                  <a:lnTo>
                    <a:pt x="32" y="0"/>
                  </a:lnTo>
                  <a:lnTo>
                    <a:pt x="24" y="8"/>
                  </a:lnTo>
                  <a:lnTo>
                    <a:pt x="32" y="48"/>
                  </a:lnTo>
                  <a:lnTo>
                    <a:pt x="8" y="48"/>
                  </a:lnTo>
                  <a:lnTo>
                    <a:pt x="0" y="112"/>
                  </a:lnTo>
                  <a:lnTo>
                    <a:pt x="16" y="120"/>
                  </a:lnTo>
                  <a:lnTo>
                    <a:pt x="56" y="112"/>
                  </a:lnTo>
                  <a:lnTo>
                    <a:pt x="56" y="80"/>
                  </a:lnTo>
                  <a:lnTo>
                    <a:pt x="88" y="80"/>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28" name="Freeform 10"/>
            <p:cNvSpPr/>
            <p:nvPr/>
          </p:nvSpPr>
          <p:spPr bwMode="auto">
            <a:xfrm>
              <a:off x="3958361" y="1808358"/>
              <a:ext cx="57449" cy="69315"/>
            </a:xfrm>
            <a:custGeom>
              <a:avLst/>
              <a:gdLst>
                <a:gd name="T0" fmla="*/ 167124 w 33"/>
                <a:gd name="T1" fmla="*/ 108199 h 41"/>
                <a:gd name="T2" fmla="*/ 41781 w 33"/>
                <a:gd name="T3" fmla="*/ 108199 h 41"/>
                <a:gd name="T4" fmla="*/ 41781 w 33"/>
                <a:gd name="T5" fmla="*/ 64243 h 41"/>
                <a:gd name="T6" fmla="*/ 0 w 33"/>
                <a:gd name="T7" fmla="*/ 0 h 41"/>
                <a:gd name="T8" fmla="*/ 123602 w 33"/>
                <a:gd name="T9" fmla="*/ 21978 h 41"/>
                <a:gd name="T10" fmla="*/ 167124 w 33"/>
                <a:gd name="T11" fmla="*/ 108199 h 41"/>
                <a:gd name="T12" fmla="*/ 0 60000 65536"/>
                <a:gd name="T13" fmla="*/ 0 60000 65536"/>
                <a:gd name="T14" fmla="*/ 0 60000 65536"/>
                <a:gd name="T15" fmla="*/ 0 60000 65536"/>
                <a:gd name="T16" fmla="*/ 0 60000 65536"/>
                <a:gd name="T17" fmla="*/ 0 60000 65536"/>
                <a:gd name="T18" fmla="*/ 0 w 33"/>
                <a:gd name="T19" fmla="*/ 0 h 41"/>
                <a:gd name="T20" fmla="*/ 33 w 33"/>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33" h="41">
                  <a:moveTo>
                    <a:pt x="32" y="40"/>
                  </a:moveTo>
                  <a:lnTo>
                    <a:pt x="8" y="40"/>
                  </a:lnTo>
                  <a:lnTo>
                    <a:pt x="8" y="24"/>
                  </a:lnTo>
                  <a:lnTo>
                    <a:pt x="0" y="0"/>
                  </a:lnTo>
                  <a:lnTo>
                    <a:pt x="24" y="8"/>
                  </a:lnTo>
                  <a:lnTo>
                    <a:pt x="32" y="40"/>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29" name="Freeform 11"/>
            <p:cNvSpPr/>
            <p:nvPr/>
          </p:nvSpPr>
          <p:spPr bwMode="auto">
            <a:xfrm>
              <a:off x="3823847" y="2054812"/>
              <a:ext cx="730020" cy="494449"/>
            </a:xfrm>
            <a:custGeom>
              <a:avLst/>
              <a:gdLst>
                <a:gd name="T0" fmla="*/ 647408 w 433"/>
                <a:gd name="T1" fmla="*/ 22242 h 289"/>
                <a:gd name="T2" fmla="*/ 578284 w 433"/>
                <a:gd name="T3" fmla="*/ 70147 h 289"/>
                <a:gd name="T4" fmla="*/ 409688 w 433"/>
                <a:gd name="T5" fmla="*/ 92388 h 289"/>
                <a:gd name="T6" fmla="*/ 237720 w 433"/>
                <a:gd name="T7" fmla="*/ 208729 h 289"/>
                <a:gd name="T8" fmla="*/ 69124 w 433"/>
                <a:gd name="T9" fmla="*/ 367843 h 289"/>
                <a:gd name="T10" fmla="*/ 69124 w 433"/>
                <a:gd name="T11" fmla="*/ 463653 h 289"/>
                <a:gd name="T12" fmla="*/ 139935 w 433"/>
                <a:gd name="T13" fmla="*/ 532089 h 289"/>
                <a:gd name="T14" fmla="*/ 205687 w 433"/>
                <a:gd name="T15" fmla="*/ 509847 h 289"/>
                <a:gd name="T16" fmla="*/ 273125 w 433"/>
                <a:gd name="T17" fmla="*/ 509847 h 289"/>
                <a:gd name="T18" fmla="*/ 33719 w 433"/>
                <a:gd name="T19" fmla="*/ 650141 h 289"/>
                <a:gd name="T20" fmla="*/ 0 w 433"/>
                <a:gd name="T21" fmla="*/ 716866 h 289"/>
                <a:gd name="T22" fmla="*/ 69124 w 433"/>
                <a:gd name="T23" fmla="*/ 739107 h 289"/>
                <a:gd name="T24" fmla="*/ 205687 w 433"/>
                <a:gd name="T25" fmla="*/ 831496 h 289"/>
                <a:gd name="T26" fmla="*/ 340564 w 433"/>
                <a:gd name="T27" fmla="*/ 831496 h 289"/>
                <a:gd name="T28" fmla="*/ 409688 w 433"/>
                <a:gd name="T29" fmla="*/ 785301 h 289"/>
                <a:gd name="T30" fmla="*/ 409688 w 433"/>
                <a:gd name="T31" fmla="*/ 739107 h 289"/>
                <a:gd name="T32" fmla="*/ 477126 w 433"/>
                <a:gd name="T33" fmla="*/ 761349 h 289"/>
                <a:gd name="T34" fmla="*/ 507473 w 433"/>
                <a:gd name="T35" fmla="*/ 785301 h 289"/>
                <a:gd name="T36" fmla="*/ 647408 w 433"/>
                <a:gd name="T37" fmla="*/ 831496 h 289"/>
                <a:gd name="T38" fmla="*/ 711474 w 433"/>
                <a:gd name="T39" fmla="*/ 785301 h 289"/>
                <a:gd name="T40" fmla="*/ 816004 w 433"/>
                <a:gd name="T41" fmla="*/ 785301 h 289"/>
                <a:gd name="T42" fmla="*/ 816004 w 433"/>
                <a:gd name="T43" fmla="*/ 831496 h 289"/>
                <a:gd name="T44" fmla="*/ 885128 w 433"/>
                <a:gd name="T45" fmla="*/ 807543 h 289"/>
                <a:gd name="T46" fmla="*/ 1021691 w 433"/>
                <a:gd name="T47" fmla="*/ 672382 h 289"/>
                <a:gd name="T48" fmla="*/ 1089129 w 433"/>
                <a:gd name="T49" fmla="*/ 672382 h 289"/>
                <a:gd name="T50" fmla="*/ 1257725 w 433"/>
                <a:gd name="T51" fmla="*/ 487605 h 289"/>
                <a:gd name="T52" fmla="*/ 1257725 w 433"/>
                <a:gd name="T53" fmla="*/ 417459 h 289"/>
                <a:gd name="T54" fmla="*/ 1291444 w 433"/>
                <a:gd name="T55" fmla="*/ 395217 h 289"/>
                <a:gd name="T56" fmla="*/ 1325163 w 433"/>
                <a:gd name="T57" fmla="*/ 441411 h 289"/>
                <a:gd name="T58" fmla="*/ 1463412 w 433"/>
                <a:gd name="T59" fmla="*/ 278876 h 289"/>
                <a:gd name="T60" fmla="*/ 1598289 w 433"/>
                <a:gd name="T61" fmla="*/ 232682 h 289"/>
                <a:gd name="T62" fmla="*/ 1598289 w 433"/>
                <a:gd name="T63" fmla="*/ 254924 h 289"/>
                <a:gd name="T64" fmla="*/ 1702818 w 433"/>
                <a:gd name="T65" fmla="*/ 186488 h 289"/>
                <a:gd name="T66" fmla="*/ 1773628 w 433"/>
                <a:gd name="T67" fmla="*/ 208729 h 289"/>
                <a:gd name="T68" fmla="*/ 1837695 w 433"/>
                <a:gd name="T69" fmla="*/ 70147 h 289"/>
                <a:gd name="T70" fmla="*/ 1803976 w 433"/>
                <a:gd name="T71" fmla="*/ 46194 h 289"/>
                <a:gd name="T72" fmla="*/ 1702818 w 433"/>
                <a:gd name="T73" fmla="*/ 46194 h 289"/>
                <a:gd name="T74" fmla="*/ 1633694 w 433"/>
                <a:gd name="T75" fmla="*/ 70147 h 289"/>
                <a:gd name="T76" fmla="*/ 1463412 w 433"/>
                <a:gd name="T77" fmla="*/ 70147 h 289"/>
                <a:gd name="T78" fmla="*/ 1395974 w 433"/>
                <a:gd name="T79" fmla="*/ 0 h 289"/>
                <a:gd name="T80" fmla="*/ 1154882 w 433"/>
                <a:gd name="T81" fmla="*/ 114630 h 289"/>
                <a:gd name="T82" fmla="*/ 1126220 w 433"/>
                <a:gd name="T83" fmla="*/ 186488 h 289"/>
                <a:gd name="T84" fmla="*/ 1055410 w 433"/>
                <a:gd name="T85" fmla="*/ 186488 h 289"/>
                <a:gd name="T86" fmla="*/ 851409 w 433"/>
                <a:gd name="T87" fmla="*/ 186488 h 289"/>
                <a:gd name="T88" fmla="*/ 851409 w 433"/>
                <a:gd name="T89" fmla="*/ 138583 h 289"/>
                <a:gd name="T90" fmla="*/ 920533 w 433"/>
                <a:gd name="T91" fmla="*/ 92388 h 289"/>
                <a:gd name="T92" fmla="*/ 851409 w 433"/>
                <a:gd name="T93" fmla="*/ 0 h 289"/>
                <a:gd name="T94" fmla="*/ 748566 w 433"/>
                <a:gd name="T95" fmla="*/ 0 h 289"/>
                <a:gd name="T96" fmla="*/ 711474 w 433"/>
                <a:gd name="T97" fmla="*/ 0 h 289"/>
                <a:gd name="T98" fmla="*/ 681127 w 433"/>
                <a:gd name="T99" fmla="*/ 46194 h 289"/>
                <a:gd name="T100" fmla="*/ 647408 w 433"/>
                <a:gd name="T101" fmla="*/ 22242 h 2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33"/>
                <a:gd name="T154" fmla="*/ 0 h 289"/>
                <a:gd name="T155" fmla="*/ 433 w 433"/>
                <a:gd name="T156" fmla="*/ 289 h 2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33" h="289">
                  <a:moveTo>
                    <a:pt x="152" y="8"/>
                  </a:moveTo>
                  <a:lnTo>
                    <a:pt x="136" y="24"/>
                  </a:lnTo>
                  <a:lnTo>
                    <a:pt x="96" y="32"/>
                  </a:lnTo>
                  <a:lnTo>
                    <a:pt x="56" y="72"/>
                  </a:lnTo>
                  <a:lnTo>
                    <a:pt x="16" y="128"/>
                  </a:lnTo>
                  <a:lnTo>
                    <a:pt x="16" y="160"/>
                  </a:lnTo>
                  <a:lnTo>
                    <a:pt x="32" y="184"/>
                  </a:lnTo>
                  <a:lnTo>
                    <a:pt x="48" y="176"/>
                  </a:lnTo>
                  <a:lnTo>
                    <a:pt x="64" y="176"/>
                  </a:lnTo>
                  <a:lnTo>
                    <a:pt x="8" y="224"/>
                  </a:lnTo>
                  <a:lnTo>
                    <a:pt x="0" y="248"/>
                  </a:lnTo>
                  <a:lnTo>
                    <a:pt x="16" y="256"/>
                  </a:lnTo>
                  <a:lnTo>
                    <a:pt x="48" y="288"/>
                  </a:lnTo>
                  <a:lnTo>
                    <a:pt x="80" y="288"/>
                  </a:lnTo>
                  <a:lnTo>
                    <a:pt x="96" y="272"/>
                  </a:lnTo>
                  <a:lnTo>
                    <a:pt x="96" y="256"/>
                  </a:lnTo>
                  <a:lnTo>
                    <a:pt x="112" y="264"/>
                  </a:lnTo>
                  <a:lnTo>
                    <a:pt x="120" y="272"/>
                  </a:lnTo>
                  <a:lnTo>
                    <a:pt x="152" y="288"/>
                  </a:lnTo>
                  <a:lnTo>
                    <a:pt x="168" y="272"/>
                  </a:lnTo>
                  <a:lnTo>
                    <a:pt x="192" y="272"/>
                  </a:lnTo>
                  <a:lnTo>
                    <a:pt x="192" y="288"/>
                  </a:lnTo>
                  <a:lnTo>
                    <a:pt x="208" y="280"/>
                  </a:lnTo>
                  <a:lnTo>
                    <a:pt x="240" y="232"/>
                  </a:lnTo>
                  <a:lnTo>
                    <a:pt x="256" y="232"/>
                  </a:lnTo>
                  <a:lnTo>
                    <a:pt x="296" y="168"/>
                  </a:lnTo>
                  <a:lnTo>
                    <a:pt x="296" y="144"/>
                  </a:lnTo>
                  <a:lnTo>
                    <a:pt x="304" y="136"/>
                  </a:lnTo>
                  <a:lnTo>
                    <a:pt x="312" y="152"/>
                  </a:lnTo>
                  <a:lnTo>
                    <a:pt x="344" y="96"/>
                  </a:lnTo>
                  <a:lnTo>
                    <a:pt x="376" y="80"/>
                  </a:lnTo>
                  <a:lnTo>
                    <a:pt x="376" y="88"/>
                  </a:lnTo>
                  <a:lnTo>
                    <a:pt x="400" y="64"/>
                  </a:lnTo>
                  <a:lnTo>
                    <a:pt x="416" y="72"/>
                  </a:lnTo>
                  <a:lnTo>
                    <a:pt x="432" y="24"/>
                  </a:lnTo>
                  <a:lnTo>
                    <a:pt x="424" y="16"/>
                  </a:lnTo>
                  <a:lnTo>
                    <a:pt x="400" y="16"/>
                  </a:lnTo>
                  <a:lnTo>
                    <a:pt x="384" y="24"/>
                  </a:lnTo>
                  <a:lnTo>
                    <a:pt x="344" y="24"/>
                  </a:lnTo>
                  <a:lnTo>
                    <a:pt x="328" y="0"/>
                  </a:lnTo>
                  <a:lnTo>
                    <a:pt x="272" y="40"/>
                  </a:lnTo>
                  <a:lnTo>
                    <a:pt x="264" y="64"/>
                  </a:lnTo>
                  <a:lnTo>
                    <a:pt x="248" y="64"/>
                  </a:lnTo>
                  <a:lnTo>
                    <a:pt x="200" y="64"/>
                  </a:lnTo>
                  <a:lnTo>
                    <a:pt x="200" y="48"/>
                  </a:lnTo>
                  <a:lnTo>
                    <a:pt x="216" y="32"/>
                  </a:lnTo>
                  <a:lnTo>
                    <a:pt x="200" y="0"/>
                  </a:lnTo>
                  <a:lnTo>
                    <a:pt x="176" y="0"/>
                  </a:lnTo>
                  <a:lnTo>
                    <a:pt x="168" y="0"/>
                  </a:lnTo>
                  <a:lnTo>
                    <a:pt x="160" y="16"/>
                  </a:lnTo>
                  <a:lnTo>
                    <a:pt x="152" y="8"/>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0" name="Freeform 12"/>
            <p:cNvSpPr/>
            <p:nvPr/>
          </p:nvSpPr>
          <p:spPr bwMode="auto">
            <a:xfrm>
              <a:off x="3973774" y="2450679"/>
              <a:ext cx="605314" cy="546820"/>
            </a:xfrm>
            <a:custGeom>
              <a:avLst/>
              <a:gdLst>
                <a:gd name="T0" fmla="*/ 692506 w 361"/>
                <a:gd name="T1" fmla="*/ 0 h 321"/>
                <a:gd name="T2" fmla="*/ 625435 w 361"/>
                <a:gd name="T3" fmla="*/ 0 h 321"/>
                <a:gd name="T4" fmla="*/ 496324 w 361"/>
                <a:gd name="T5" fmla="*/ 136279 h 321"/>
                <a:gd name="T6" fmla="*/ 395718 w 361"/>
                <a:gd name="T7" fmla="*/ 158424 h 321"/>
                <a:gd name="T8" fmla="*/ 395718 w 361"/>
                <a:gd name="T9" fmla="*/ 112430 h 321"/>
                <a:gd name="T10" fmla="*/ 330324 w 361"/>
                <a:gd name="T11" fmla="*/ 112430 h 321"/>
                <a:gd name="T12" fmla="*/ 264930 w 361"/>
                <a:gd name="T13" fmla="*/ 158424 h 321"/>
                <a:gd name="T14" fmla="*/ 130788 w 361"/>
                <a:gd name="T15" fmla="*/ 112430 h 321"/>
                <a:gd name="T16" fmla="*/ 100606 w 361"/>
                <a:gd name="T17" fmla="*/ 90285 h 321"/>
                <a:gd name="T18" fmla="*/ 33535 w 361"/>
                <a:gd name="T19" fmla="*/ 68140 h 321"/>
                <a:gd name="T20" fmla="*/ 33535 w 361"/>
                <a:gd name="T21" fmla="*/ 112430 h 321"/>
                <a:gd name="T22" fmla="*/ 0 w 361"/>
                <a:gd name="T23" fmla="*/ 136279 h 321"/>
                <a:gd name="T24" fmla="*/ 130788 w 361"/>
                <a:gd name="T25" fmla="*/ 158424 h 321"/>
                <a:gd name="T26" fmla="*/ 162647 w 361"/>
                <a:gd name="T27" fmla="*/ 221454 h 321"/>
                <a:gd name="T28" fmla="*/ 231394 w 361"/>
                <a:gd name="T29" fmla="*/ 221454 h 321"/>
                <a:gd name="T30" fmla="*/ 330324 w 361"/>
                <a:gd name="T31" fmla="*/ 316849 h 321"/>
                <a:gd name="T32" fmla="*/ 425900 w 361"/>
                <a:gd name="T33" fmla="*/ 291297 h 321"/>
                <a:gd name="T34" fmla="*/ 425900 w 361"/>
                <a:gd name="T35" fmla="*/ 407134 h 321"/>
                <a:gd name="T36" fmla="*/ 560041 w 361"/>
                <a:gd name="T37" fmla="*/ 517861 h 321"/>
                <a:gd name="T38" fmla="*/ 625435 w 361"/>
                <a:gd name="T39" fmla="*/ 517861 h 321"/>
                <a:gd name="T40" fmla="*/ 658971 w 361"/>
                <a:gd name="T41" fmla="*/ 475273 h 321"/>
                <a:gd name="T42" fmla="*/ 756223 w 361"/>
                <a:gd name="T43" fmla="*/ 538303 h 321"/>
                <a:gd name="T44" fmla="*/ 692506 w 361"/>
                <a:gd name="T45" fmla="*/ 586000 h 321"/>
                <a:gd name="T46" fmla="*/ 658971 w 361"/>
                <a:gd name="T47" fmla="*/ 563855 h 321"/>
                <a:gd name="T48" fmla="*/ 593577 w 361"/>
                <a:gd name="T49" fmla="*/ 538303 h 321"/>
                <a:gd name="T50" fmla="*/ 593577 w 361"/>
                <a:gd name="T51" fmla="*/ 630291 h 321"/>
                <a:gd name="T52" fmla="*/ 560041 w 361"/>
                <a:gd name="T53" fmla="*/ 674582 h 321"/>
                <a:gd name="T54" fmla="*/ 658971 w 361"/>
                <a:gd name="T55" fmla="*/ 766570 h 321"/>
                <a:gd name="T56" fmla="*/ 658971 w 361"/>
                <a:gd name="T57" fmla="*/ 833006 h 321"/>
                <a:gd name="T58" fmla="*/ 819941 w 361"/>
                <a:gd name="T59" fmla="*/ 833006 h 321"/>
                <a:gd name="T60" fmla="*/ 888688 w 361"/>
                <a:gd name="T61" fmla="*/ 879000 h 321"/>
                <a:gd name="T62" fmla="*/ 985941 w 361"/>
                <a:gd name="T63" fmla="*/ 856855 h 321"/>
                <a:gd name="T64" fmla="*/ 1120082 w 361"/>
                <a:gd name="T65" fmla="*/ 901146 h 321"/>
                <a:gd name="T66" fmla="*/ 1217335 w 361"/>
                <a:gd name="T67" fmla="*/ 833006 h 321"/>
                <a:gd name="T68" fmla="*/ 1316265 w 361"/>
                <a:gd name="T69" fmla="*/ 722279 h 321"/>
                <a:gd name="T70" fmla="*/ 1185476 w 361"/>
                <a:gd name="T71" fmla="*/ 674582 h 321"/>
                <a:gd name="T72" fmla="*/ 1316265 w 361"/>
                <a:gd name="T73" fmla="*/ 654140 h 321"/>
                <a:gd name="T74" fmla="*/ 1349800 w 361"/>
                <a:gd name="T75" fmla="*/ 674582 h 321"/>
                <a:gd name="T76" fmla="*/ 1480588 w 361"/>
                <a:gd name="T77" fmla="*/ 654140 h 321"/>
                <a:gd name="T78" fmla="*/ 1480588 w 361"/>
                <a:gd name="T79" fmla="*/ 630291 h 321"/>
                <a:gd name="T80" fmla="*/ 1316265 w 361"/>
                <a:gd name="T81" fmla="*/ 563855 h 321"/>
                <a:gd name="T82" fmla="*/ 1316265 w 361"/>
                <a:gd name="T83" fmla="*/ 517861 h 321"/>
                <a:gd name="T84" fmla="*/ 1254224 w 361"/>
                <a:gd name="T85" fmla="*/ 497419 h 321"/>
                <a:gd name="T86" fmla="*/ 1185476 w 361"/>
                <a:gd name="T87" fmla="*/ 475273 h 321"/>
                <a:gd name="T88" fmla="*/ 1120082 w 361"/>
                <a:gd name="T89" fmla="*/ 361140 h 321"/>
                <a:gd name="T90" fmla="*/ 955759 w 361"/>
                <a:gd name="T91" fmla="*/ 180570 h 321"/>
                <a:gd name="T92" fmla="*/ 955759 w 361"/>
                <a:gd name="T93" fmla="*/ 112430 h 321"/>
                <a:gd name="T94" fmla="*/ 789759 w 361"/>
                <a:gd name="T95" fmla="*/ 90285 h 321"/>
                <a:gd name="T96" fmla="*/ 724365 w 361"/>
                <a:gd name="T97" fmla="*/ 68140 h 321"/>
                <a:gd name="T98" fmla="*/ 692506 w 361"/>
                <a:gd name="T99" fmla="*/ 0 h 3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61"/>
                <a:gd name="T151" fmla="*/ 0 h 321"/>
                <a:gd name="T152" fmla="*/ 361 w 361"/>
                <a:gd name="T153" fmla="*/ 321 h 32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61" h="321">
                  <a:moveTo>
                    <a:pt x="168" y="0"/>
                  </a:moveTo>
                  <a:lnTo>
                    <a:pt x="152" y="0"/>
                  </a:lnTo>
                  <a:lnTo>
                    <a:pt x="120" y="48"/>
                  </a:lnTo>
                  <a:lnTo>
                    <a:pt x="96" y="56"/>
                  </a:lnTo>
                  <a:lnTo>
                    <a:pt x="96" y="40"/>
                  </a:lnTo>
                  <a:lnTo>
                    <a:pt x="80" y="40"/>
                  </a:lnTo>
                  <a:lnTo>
                    <a:pt x="64" y="56"/>
                  </a:lnTo>
                  <a:lnTo>
                    <a:pt x="32" y="40"/>
                  </a:lnTo>
                  <a:lnTo>
                    <a:pt x="24" y="32"/>
                  </a:lnTo>
                  <a:lnTo>
                    <a:pt x="8" y="24"/>
                  </a:lnTo>
                  <a:lnTo>
                    <a:pt x="8" y="40"/>
                  </a:lnTo>
                  <a:lnTo>
                    <a:pt x="0" y="48"/>
                  </a:lnTo>
                  <a:lnTo>
                    <a:pt x="32" y="56"/>
                  </a:lnTo>
                  <a:lnTo>
                    <a:pt x="40" y="80"/>
                  </a:lnTo>
                  <a:lnTo>
                    <a:pt x="56" y="80"/>
                  </a:lnTo>
                  <a:lnTo>
                    <a:pt x="80" y="112"/>
                  </a:lnTo>
                  <a:lnTo>
                    <a:pt x="104" y="104"/>
                  </a:lnTo>
                  <a:lnTo>
                    <a:pt x="104" y="144"/>
                  </a:lnTo>
                  <a:lnTo>
                    <a:pt x="136" y="184"/>
                  </a:lnTo>
                  <a:lnTo>
                    <a:pt x="152" y="184"/>
                  </a:lnTo>
                  <a:lnTo>
                    <a:pt x="160" y="168"/>
                  </a:lnTo>
                  <a:lnTo>
                    <a:pt x="184" y="192"/>
                  </a:lnTo>
                  <a:lnTo>
                    <a:pt x="168" y="208"/>
                  </a:lnTo>
                  <a:lnTo>
                    <a:pt x="160" y="200"/>
                  </a:lnTo>
                  <a:lnTo>
                    <a:pt x="144" y="192"/>
                  </a:lnTo>
                  <a:lnTo>
                    <a:pt x="144" y="224"/>
                  </a:lnTo>
                  <a:lnTo>
                    <a:pt x="136" y="240"/>
                  </a:lnTo>
                  <a:lnTo>
                    <a:pt x="160" y="272"/>
                  </a:lnTo>
                  <a:lnTo>
                    <a:pt x="160" y="296"/>
                  </a:lnTo>
                  <a:lnTo>
                    <a:pt x="200" y="296"/>
                  </a:lnTo>
                  <a:lnTo>
                    <a:pt x="216" y="312"/>
                  </a:lnTo>
                  <a:lnTo>
                    <a:pt x="240" y="304"/>
                  </a:lnTo>
                  <a:lnTo>
                    <a:pt x="272" y="320"/>
                  </a:lnTo>
                  <a:lnTo>
                    <a:pt x="296" y="296"/>
                  </a:lnTo>
                  <a:lnTo>
                    <a:pt x="320" y="256"/>
                  </a:lnTo>
                  <a:lnTo>
                    <a:pt x="288" y="240"/>
                  </a:lnTo>
                  <a:lnTo>
                    <a:pt x="320" y="232"/>
                  </a:lnTo>
                  <a:lnTo>
                    <a:pt x="328" y="240"/>
                  </a:lnTo>
                  <a:lnTo>
                    <a:pt x="360" y="232"/>
                  </a:lnTo>
                  <a:lnTo>
                    <a:pt x="360" y="224"/>
                  </a:lnTo>
                  <a:lnTo>
                    <a:pt x="320" y="200"/>
                  </a:lnTo>
                  <a:lnTo>
                    <a:pt x="320" y="184"/>
                  </a:lnTo>
                  <a:lnTo>
                    <a:pt x="304" y="176"/>
                  </a:lnTo>
                  <a:lnTo>
                    <a:pt x="288" y="168"/>
                  </a:lnTo>
                  <a:lnTo>
                    <a:pt x="272" y="128"/>
                  </a:lnTo>
                  <a:lnTo>
                    <a:pt x="232" y="64"/>
                  </a:lnTo>
                  <a:lnTo>
                    <a:pt x="232" y="40"/>
                  </a:lnTo>
                  <a:lnTo>
                    <a:pt x="192" y="32"/>
                  </a:lnTo>
                  <a:lnTo>
                    <a:pt x="176" y="24"/>
                  </a:lnTo>
                  <a:lnTo>
                    <a:pt x="168" y="0"/>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1" name="Freeform 13"/>
            <p:cNvSpPr/>
            <p:nvPr/>
          </p:nvSpPr>
          <p:spPr bwMode="auto">
            <a:xfrm>
              <a:off x="4471196" y="2888136"/>
              <a:ext cx="107892" cy="93961"/>
            </a:xfrm>
            <a:custGeom>
              <a:avLst/>
              <a:gdLst>
                <a:gd name="T0" fmla="*/ 89633 w 65"/>
                <a:gd name="T1" fmla="*/ 0 h 57"/>
                <a:gd name="T2" fmla="*/ 0 w 65"/>
                <a:gd name="T3" fmla="*/ 92313 h 57"/>
                <a:gd name="T4" fmla="*/ 89633 w 65"/>
                <a:gd name="T5" fmla="*/ 128578 h 57"/>
                <a:gd name="T6" fmla="*/ 248982 w 65"/>
                <a:gd name="T7" fmla="*/ 92313 h 57"/>
                <a:gd name="T8" fmla="*/ 248982 w 65"/>
                <a:gd name="T9" fmla="*/ 56047 h 57"/>
                <a:gd name="T10" fmla="*/ 89633 w 65"/>
                <a:gd name="T11" fmla="*/ 0 h 57"/>
                <a:gd name="T12" fmla="*/ 0 60000 65536"/>
                <a:gd name="T13" fmla="*/ 0 60000 65536"/>
                <a:gd name="T14" fmla="*/ 0 60000 65536"/>
                <a:gd name="T15" fmla="*/ 0 60000 65536"/>
                <a:gd name="T16" fmla="*/ 0 60000 65536"/>
                <a:gd name="T17" fmla="*/ 0 60000 65536"/>
                <a:gd name="T18" fmla="*/ 0 w 65"/>
                <a:gd name="T19" fmla="*/ 0 h 57"/>
                <a:gd name="T20" fmla="*/ 65 w 65"/>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65" h="57">
                  <a:moveTo>
                    <a:pt x="24" y="0"/>
                  </a:moveTo>
                  <a:lnTo>
                    <a:pt x="0" y="40"/>
                  </a:lnTo>
                  <a:lnTo>
                    <a:pt x="24" y="56"/>
                  </a:lnTo>
                  <a:lnTo>
                    <a:pt x="64" y="40"/>
                  </a:lnTo>
                  <a:lnTo>
                    <a:pt x="64" y="24"/>
                  </a:lnTo>
                  <a:lnTo>
                    <a:pt x="24" y="0"/>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2" name="Freeform 14"/>
            <p:cNvSpPr/>
            <p:nvPr/>
          </p:nvSpPr>
          <p:spPr bwMode="auto">
            <a:xfrm>
              <a:off x="4202168" y="2954370"/>
              <a:ext cx="403543" cy="506772"/>
            </a:xfrm>
            <a:custGeom>
              <a:avLst/>
              <a:gdLst>
                <a:gd name="T0" fmla="*/ 750155 w 241"/>
                <a:gd name="T1" fmla="*/ 46070 h 297"/>
                <a:gd name="T2" fmla="*/ 649687 w 241"/>
                <a:gd name="T3" fmla="*/ 0 h 297"/>
                <a:gd name="T4" fmla="*/ 555918 w 241"/>
                <a:gd name="T5" fmla="*/ 69958 h 297"/>
                <a:gd name="T6" fmla="*/ 423636 w 241"/>
                <a:gd name="T7" fmla="*/ 22182 h 297"/>
                <a:gd name="T8" fmla="*/ 328193 w 241"/>
                <a:gd name="T9" fmla="*/ 46070 h 297"/>
                <a:gd name="T10" fmla="*/ 294704 w 241"/>
                <a:gd name="T11" fmla="*/ 90434 h 297"/>
                <a:gd name="T12" fmla="*/ 259540 w 241"/>
                <a:gd name="T13" fmla="*/ 136504 h 297"/>
                <a:gd name="T14" fmla="*/ 294704 w 241"/>
                <a:gd name="T15" fmla="*/ 208169 h 297"/>
                <a:gd name="T16" fmla="*/ 229400 w 241"/>
                <a:gd name="T17" fmla="*/ 208169 h 297"/>
                <a:gd name="T18" fmla="*/ 194236 w 241"/>
                <a:gd name="T19" fmla="*/ 182574 h 297"/>
                <a:gd name="T20" fmla="*/ 162422 w 241"/>
                <a:gd name="T21" fmla="*/ 182574 h 297"/>
                <a:gd name="T22" fmla="*/ 162422 w 241"/>
                <a:gd name="T23" fmla="*/ 230351 h 297"/>
                <a:gd name="T24" fmla="*/ 162422 w 241"/>
                <a:gd name="T25" fmla="*/ 273008 h 297"/>
                <a:gd name="T26" fmla="*/ 162422 w 241"/>
                <a:gd name="T27" fmla="*/ 273008 h 297"/>
                <a:gd name="T28" fmla="*/ 162422 w 241"/>
                <a:gd name="T29" fmla="*/ 317372 h 297"/>
                <a:gd name="T30" fmla="*/ 33489 w 241"/>
                <a:gd name="T31" fmla="*/ 387331 h 297"/>
                <a:gd name="T32" fmla="*/ 0 w 241"/>
                <a:gd name="T33" fmla="*/ 409513 h 297"/>
                <a:gd name="T34" fmla="*/ 0 w 241"/>
                <a:gd name="T35" fmla="*/ 501653 h 297"/>
                <a:gd name="T36" fmla="*/ 100467 w 241"/>
                <a:gd name="T37" fmla="*/ 546017 h 297"/>
                <a:gd name="T38" fmla="*/ 100467 w 241"/>
                <a:gd name="T39" fmla="*/ 662046 h 297"/>
                <a:gd name="T40" fmla="*/ 194236 w 241"/>
                <a:gd name="T41" fmla="*/ 662046 h 297"/>
                <a:gd name="T42" fmla="*/ 194236 w 241"/>
                <a:gd name="T43" fmla="*/ 706409 h 297"/>
                <a:gd name="T44" fmla="*/ 229400 w 241"/>
                <a:gd name="T45" fmla="*/ 750773 h 297"/>
                <a:gd name="T46" fmla="*/ 259540 w 241"/>
                <a:gd name="T47" fmla="*/ 819025 h 297"/>
                <a:gd name="T48" fmla="*/ 356658 w 241"/>
                <a:gd name="T49" fmla="*/ 819025 h 297"/>
                <a:gd name="T50" fmla="*/ 423636 w 241"/>
                <a:gd name="T51" fmla="*/ 750773 h 297"/>
                <a:gd name="T52" fmla="*/ 455451 w 241"/>
                <a:gd name="T53" fmla="*/ 750773 h 297"/>
                <a:gd name="T54" fmla="*/ 455451 w 241"/>
                <a:gd name="T55" fmla="*/ 795137 h 297"/>
                <a:gd name="T56" fmla="*/ 488940 w 241"/>
                <a:gd name="T57" fmla="*/ 819025 h 297"/>
                <a:gd name="T58" fmla="*/ 555918 w 241"/>
                <a:gd name="T59" fmla="*/ 819025 h 297"/>
                <a:gd name="T60" fmla="*/ 555918 w 241"/>
                <a:gd name="T61" fmla="*/ 795137 h 297"/>
                <a:gd name="T62" fmla="*/ 619547 w 241"/>
                <a:gd name="T63" fmla="*/ 795137 h 297"/>
                <a:gd name="T64" fmla="*/ 619547 w 241"/>
                <a:gd name="T65" fmla="*/ 819025 h 297"/>
                <a:gd name="T66" fmla="*/ 649687 w 241"/>
                <a:gd name="T67" fmla="*/ 841207 h 297"/>
                <a:gd name="T68" fmla="*/ 718340 w 241"/>
                <a:gd name="T69" fmla="*/ 819025 h 297"/>
                <a:gd name="T70" fmla="*/ 750155 w 241"/>
                <a:gd name="T71" fmla="*/ 732004 h 297"/>
                <a:gd name="T72" fmla="*/ 750155 w 241"/>
                <a:gd name="T73" fmla="*/ 638157 h 297"/>
                <a:gd name="T74" fmla="*/ 818807 w 241"/>
                <a:gd name="T75" fmla="*/ 638157 h 297"/>
                <a:gd name="T76" fmla="*/ 818807 w 241"/>
                <a:gd name="T77" fmla="*/ 615975 h 297"/>
                <a:gd name="T78" fmla="*/ 818807 w 241"/>
                <a:gd name="T79" fmla="*/ 571612 h 297"/>
                <a:gd name="T80" fmla="*/ 880762 w 241"/>
                <a:gd name="T81" fmla="*/ 615975 h 297"/>
                <a:gd name="T82" fmla="*/ 946066 w 241"/>
                <a:gd name="T83" fmla="*/ 546017 h 297"/>
                <a:gd name="T84" fmla="*/ 880762 w 241"/>
                <a:gd name="T85" fmla="*/ 501653 h 297"/>
                <a:gd name="T86" fmla="*/ 880762 w 241"/>
                <a:gd name="T87" fmla="*/ 477765 h 297"/>
                <a:gd name="T88" fmla="*/ 946066 w 241"/>
                <a:gd name="T89" fmla="*/ 453877 h 297"/>
                <a:gd name="T90" fmla="*/ 912576 w 241"/>
                <a:gd name="T91" fmla="*/ 387331 h 297"/>
                <a:gd name="T92" fmla="*/ 880762 w 241"/>
                <a:gd name="T93" fmla="*/ 365149 h 297"/>
                <a:gd name="T94" fmla="*/ 981229 w 241"/>
                <a:gd name="T95" fmla="*/ 387331 h 297"/>
                <a:gd name="T96" fmla="*/ 981229 w 241"/>
                <a:gd name="T97" fmla="*/ 295190 h 297"/>
                <a:gd name="T98" fmla="*/ 880762 w 241"/>
                <a:gd name="T99" fmla="*/ 342967 h 297"/>
                <a:gd name="T100" fmla="*/ 981229 w 241"/>
                <a:gd name="T101" fmla="*/ 230351 h 297"/>
                <a:gd name="T102" fmla="*/ 818807 w 241"/>
                <a:gd name="T103" fmla="*/ 158686 h 297"/>
                <a:gd name="T104" fmla="*/ 718340 w 241"/>
                <a:gd name="T105" fmla="*/ 158686 h 297"/>
                <a:gd name="T106" fmla="*/ 649687 w 241"/>
                <a:gd name="T107" fmla="*/ 208169 h 297"/>
                <a:gd name="T108" fmla="*/ 619547 w 241"/>
                <a:gd name="T109" fmla="*/ 136504 h 297"/>
                <a:gd name="T110" fmla="*/ 649687 w 241"/>
                <a:gd name="T111" fmla="*/ 112616 h 297"/>
                <a:gd name="T112" fmla="*/ 750155 w 241"/>
                <a:gd name="T113" fmla="*/ 46070 h 29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1"/>
                <a:gd name="T172" fmla="*/ 0 h 297"/>
                <a:gd name="T173" fmla="*/ 241 w 241"/>
                <a:gd name="T174" fmla="*/ 297 h 29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1" h="297">
                  <a:moveTo>
                    <a:pt x="184" y="16"/>
                  </a:moveTo>
                  <a:lnTo>
                    <a:pt x="160" y="0"/>
                  </a:lnTo>
                  <a:lnTo>
                    <a:pt x="136" y="24"/>
                  </a:lnTo>
                  <a:lnTo>
                    <a:pt x="104" y="8"/>
                  </a:lnTo>
                  <a:lnTo>
                    <a:pt x="80" y="16"/>
                  </a:lnTo>
                  <a:lnTo>
                    <a:pt x="72" y="32"/>
                  </a:lnTo>
                  <a:lnTo>
                    <a:pt x="64" y="48"/>
                  </a:lnTo>
                  <a:lnTo>
                    <a:pt x="72" y="72"/>
                  </a:lnTo>
                  <a:lnTo>
                    <a:pt x="56" y="72"/>
                  </a:lnTo>
                  <a:lnTo>
                    <a:pt x="48" y="64"/>
                  </a:lnTo>
                  <a:lnTo>
                    <a:pt x="40" y="64"/>
                  </a:lnTo>
                  <a:lnTo>
                    <a:pt x="40" y="80"/>
                  </a:lnTo>
                  <a:lnTo>
                    <a:pt x="40" y="96"/>
                  </a:lnTo>
                  <a:lnTo>
                    <a:pt x="40" y="112"/>
                  </a:lnTo>
                  <a:lnTo>
                    <a:pt x="8" y="136"/>
                  </a:lnTo>
                  <a:lnTo>
                    <a:pt x="0" y="144"/>
                  </a:lnTo>
                  <a:lnTo>
                    <a:pt x="0" y="176"/>
                  </a:lnTo>
                  <a:lnTo>
                    <a:pt x="24" y="192"/>
                  </a:lnTo>
                  <a:lnTo>
                    <a:pt x="24" y="232"/>
                  </a:lnTo>
                  <a:lnTo>
                    <a:pt x="48" y="232"/>
                  </a:lnTo>
                  <a:lnTo>
                    <a:pt x="48" y="248"/>
                  </a:lnTo>
                  <a:lnTo>
                    <a:pt x="56" y="264"/>
                  </a:lnTo>
                  <a:lnTo>
                    <a:pt x="64" y="288"/>
                  </a:lnTo>
                  <a:lnTo>
                    <a:pt x="88" y="288"/>
                  </a:lnTo>
                  <a:lnTo>
                    <a:pt x="104" y="264"/>
                  </a:lnTo>
                  <a:lnTo>
                    <a:pt x="112" y="264"/>
                  </a:lnTo>
                  <a:lnTo>
                    <a:pt x="112" y="280"/>
                  </a:lnTo>
                  <a:lnTo>
                    <a:pt x="120" y="288"/>
                  </a:lnTo>
                  <a:lnTo>
                    <a:pt x="136" y="288"/>
                  </a:lnTo>
                  <a:lnTo>
                    <a:pt x="136" y="280"/>
                  </a:lnTo>
                  <a:lnTo>
                    <a:pt x="152" y="280"/>
                  </a:lnTo>
                  <a:lnTo>
                    <a:pt x="152" y="288"/>
                  </a:lnTo>
                  <a:lnTo>
                    <a:pt x="160" y="296"/>
                  </a:lnTo>
                  <a:lnTo>
                    <a:pt x="176" y="288"/>
                  </a:lnTo>
                  <a:lnTo>
                    <a:pt x="184" y="256"/>
                  </a:lnTo>
                  <a:lnTo>
                    <a:pt x="184" y="224"/>
                  </a:lnTo>
                  <a:lnTo>
                    <a:pt x="200" y="224"/>
                  </a:lnTo>
                  <a:lnTo>
                    <a:pt x="200" y="216"/>
                  </a:lnTo>
                  <a:lnTo>
                    <a:pt x="200" y="200"/>
                  </a:lnTo>
                  <a:lnTo>
                    <a:pt x="216" y="216"/>
                  </a:lnTo>
                  <a:lnTo>
                    <a:pt x="232" y="192"/>
                  </a:lnTo>
                  <a:lnTo>
                    <a:pt x="216" y="176"/>
                  </a:lnTo>
                  <a:lnTo>
                    <a:pt x="216" y="168"/>
                  </a:lnTo>
                  <a:lnTo>
                    <a:pt x="232" y="160"/>
                  </a:lnTo>
                  <a:lnTo>
                    <a:pt x="224" y="136"/>
                  </a:lnTo>
                  <a:lnTo>
                    <a:pt x="216" y="128"/>
                  </a:lnTo>
                  <a:lnTo>
                    <a:pt x="240" y="136"/>
                  </a:lnTo>
                  <a:lnTo>
                    <a:pt x="240" y="104"/>
                  </a:lnTo>
                  <a:lnTo>
                    <a:pt x="216" y="120"/>
                  </a:lnTo>
                  <a:lnTo>
                    <a:pt x="240" y="80"/>
                  </a:lnTo>
                  <a:lnTo>
                    <a:pt x="200" y="56"/>
                  </a:lnTo>
                  <a:lnTo>
                    <a:pt x="176" y="56"/>
                  </a:lnTo>
                  <a:lnTo>
                    <a:pt x="160" y="72"/>
                  </a:lnTo>
                  <a:lnTo>
                    <a:pt x="152" y="48"/>
                  </a:lnTo>
                  <a:lnTo>
                    <a:pt x="160" y="40"/>
                  </a:lnTo>
                  <a:lnTo>
                    <a:pt x="184" y="16"/>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3" name="Freeform 15"/>
            <p:cNvSpPr/>
            <p:nvPr/>
          </p:nvSpPr>
          <p:spPr bwMode="auto">
            <a:xfrm>
              <a:off x="3998995" y="3351778"/>
              <a:ext cx="459590" cy="629999"/>
            </a:xfrm>
            <a:custGeom>
              <a:avLst/>
              <a:gdLst>
                <a:gd name="T0" fmla="*/ 1146450 w 273"/>
                <a:gd name="T1" fmla="*/ 158780 h 369"/>
                <a:gd name="T2" fmla="*/ 1146450 w 273"/>
                <a:gd name="T3" fmla="*/ 136585 h 369"/>
                <a:gd name="T4" fmla="*/ 1082478 w 273"/>
                <a:gd name="T5" fmla="*/ 136585 h 369"/>
                <a:gd name="T6" fmla="*/ 1082478 w 273"/>
                <a:gd name="T7" fmla="*/ 158780 h 369"/>
                <a:gd name="T8" fmla="*/ 1011771 w 273"/>
                <a:gd name="T9" fmla="*/ 158780 h 369"/>
                <a:gd name="T10" fmla="*/ 976418 w 273"/>
                <a:gd name="T11" fmla="*/ 158780 h 369"/>
                <a:gd name="T12" fmla="*/ 976418 w 273"/>
                <a:gd name="T13" fmla="*/ 90488 h 369"/>
                <a:gd name="T14" fmla="*/ 942749 w 273"/>
                <a:gd name="T15" fmla="*/ 90488 h 369"/>
                <a:gd name="T16" fmla="*/ 875410 w 273"/>
                <a:gd name="T17" fmla="*/ 158780 h 369"/>
                <a:gd name="T18" fmla="*/ 776084 w 273"/>
                <a:gd name="T19" fmla="*/ 158780 h 369"/>
                <a:gd name="T20" fmla="*/ 740731 w 273"/>
                <a:gd name="T21" fmla="*/ 90488 h 369"/>
                <a:gd name="T22" fmla="*/ 710428 w 273"/>
                <a:gd name="T23" fmla="*/ 46097 h 369"/>
                <a:gd name="T24" fmla="*/ 675075 w 273"/>
                <a:gd name="T25" fmla="*/ 0 h 369"/>
                <a:gd name="T26" fmla="*/ 606053 w 273"/>
                <a:gd name="T27" fmla="*/ 0 h 369"/>
                <a:gd name="T28" fmla="*/ 606053 w 273"/>
                <a:gd name="T29" fmla="*/ 22195 h 369"/>
                <a:gd name="T30" fmla="*/ 473058 w 273"/>
                <a:gd name="T31" fmla="*/ 46097 h 369"/>
                <a:gd name="T32" fmla="*/ 473058 w 273"/>
                <a:gd name="T33" fmla="*/ 90488 h 369"/>
                <a:gd name="T34" fmla="*/ 335012 w 273"/>
                <a:gd name="T35" fmla="*/ 90488 h 369"/>
                <a:gd name="T36" fmla="*/ 272724 w 273"/>
                <a:gd name="T37" fmla="*/ 136585 h 369"/>
                <a:gd name="T38" fmla="*/ 272724 w 273"/>
                <a:gd name="T39" fmla="*/ 208292 h 369"/>
                <a:gd name="T40" fmla="*/ 304710 w 273"/>
                <a:gd name="T41" fmla="*/ 254390 h 369"/>
                <a:gd name="T42" fmla="*/ 203701 w 273"/>
                <a:gd name="T43" fmla="*/ 317560 h 369"/>
                <a:gd name="T44" fmla="*/ 170031 w 273"/>
                <a:gd name="T45" fmla="*/ 317560 h 369"/>
                <a:gd name="T46" fmla="*/ 132995 w 273"/>
                <a:gd name="T47" fmla="*/ 411463 h 369"/>
                <a:gd name="T48" fmla="*/ 132995 w 273"/>
                <a:gd name="T49" fmla="*/ 455853 h 369"/>
                <a:gd name="T50" fmla="*/ 132995 w 273"/>
                <a:gd name="T51" fmla="*/ 501950 h 369"/>
                <a:gd name="T52" fmla="*/ 69023 w 273"/>
                <a:gd name="T53" fmla="*/ 573658 h 369"/>
                <a:gd name="T54" fmla="*/ 33670 w 273"/>
                <a:gd name="T55" fmla="*/ 616340 h 369"/>
                <a:gd name="T56" fmla="*/ 0 w 273"/>
                <a:gd name="T57" fmla="*/ 732438 h 369"/>
                <a:gd name="T58" fmla="*/ 33670 w 273"/>
                <a:gd name="T59" fmla="*/ 775121 h 369"/>
                <a:gd name="T60" fmla="*/ 232320 w 273"/>
                <a:gd name="T61" fmla="*/ 775121 h 369"/>
                <a:gd name="T62" fmla="*/ 335012 w 273"/>
                <a:gd name="T63" fmla="*/ 937316 h 369"/>
                <a:gd name="T64" fmla="*/ 372049 w 273"/>
                <a:gd name="T65" fmla="*/ 1049998 h 369"/>
                <a:gd name="T66" fmla="*/ 473058 w 273"/>
                <a:gd name="T67" fmla="*/ 937316 h 369"/>
                <a:gd name="T68" fmla="*/ 505044 w 273"/>
                <a:gd name="T69" fmla="*/ 959511 h 369"/>
                <a:gd name="T70" fmla="*/ 641406 w 273"/>
                <a:gd name="T71" fmla="*/ 870730 h 369"/>
                <a:gd name="T72" fmla="*/ 641406 w 273"/>
                <a:gd name="T73" fmla="*/ 799023 h 369"/>
                <a:gd name="T74" fmla="*/ 776084 w 273"/>
                <a:gd name="T75" fmla="*/ 775121 h 369"/>
                <a:gd name="T76" fmla="*/ 841740 w 273"/>
                <a:gd name="T77" fmla="*/ 662438 h 369"/>
                <a:gd name="T78" fmla="*/ 912446 w 273"/>
                <a:gd name="T79" fmla="*/ 640243 h 369"/>
                <a:gd name="T80" fmla="*/ 912446 w 273"/>
                <a:gd name="T81" fmla="*/ 573658 h 369"/>
                <a:gd name="T82" fmla="*/ 1011771 w 273"/>
                <a:gd name="T83" fmla="*/ 573658 h 369"/>
                <a:gd name="T84" fmla="*/ 1045441 w 273"/>
                <a:gd name="T85" fmla="*/ 455853 h 369"/>
                <a:gd name="T86" fmla="*/ 1011771 w 273"/>
                <a:gd name="T87" fmla="*/ 365365 h 369"/>
                <a:gd name="T88" fmla="*/ 1045441 w 273"/>
                <a:gd name="T89" fmla="*/ 343170 h 369"/>
                <a:gd name="T90" fmla="*/ 976418 w 273"/>
                <a:gd name="T91" fmla="*/ 295365 h 369"/>
                <a:gd name="T92" fmla="*/ 1045441 w 273"/>
                <a:gd name="T93" fmla="*/ 273170 h 369"/>
                <a:gd name="T94" fmla="*/ 1082478 w 273"/>
                <a:gd name="T95" fmla="*/ 295365 h 369"/>
                <a:gd name="T96" fmla="*/ 1146450 w 273"/>
                <a:gd name="T97" fmla="*/ 230487 h 369"/>
                <a:gd name="T98" fmla="*/ 1146450 w 273"/>
                <a:gd name="T99" fmla="*/ 158780 h 36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3"/>
                <a:gd name="T151" fmla="*/ 0 h 369"/>
                <a:gd name="T152" fmla="*/ 273 w 273"/>
                <a:gd name="T153" fmla="*/ 369 h 36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3" h="369">
                  <a:moveTo>
                    <a:pt x="272" y="56"/>
                  </a:moveTo>
                  <a:lnTo>
                    <a:pt x="272" y="48"/>
                  </a:lnTo>
                  <a:lnTo>
                    <a:pt x="256" y="48"/>
                  </a:lnTo>
                  <a:lnTo>
                    <a:pt x="256" y="56"/>
                  </a:lnTo>
                  <a:lnTo>
                    <a:pt x="240" y="56"/>
                  </a:lnTo>
                  <a:lnTo>
                    <a:pt x="232" y="56"/>
                  </a:lnTo>
                  <a:lnTo>
                    <a:pt x="232" y="32"/>
                  </a:lnTo>
                  <a:lnTo>
                    <a:pt x="224" y="32"/>
                  </a:lnTo>
                  <a:lnTo>
                    <a:pt x="208" y="56"/>
                  </a:lnTo>
                  <a:lnTo>
                    <a:pt x="184" y="56"/>
                  </a:lnTo>
                  <a:lnTo>
                    <a:pt x="176" y="32"/>
                  </a:lnTo>
                  <a:lnTo>
                    <a:pt x="168" y="16"/>
                  </a:lnTo>
                  <a:lnTo>
                    <a:pt x="160" y="0"/>
                  </a:lnTo>
                  <a:lnTo>
                    <a:pt x="144" y="0"/>
                  </a:lnTo>
                  <a:lnTo>
                    <a:pt x="144" y="8"/>
                  </a:lnTo>
                  <a:lnTo>
                    <a:pt x="112" y="16"/>
                  </a:lnTo>
                  <a:lnTo>
                    <a:pt x="112" y="32"/>
                  </a:lnTo>
                  <a:lnTo>
                    <a:pt x="80" y="32"/>
                  </a:lnTo>
                  <a:lnTo>
                    <a:pt x="64" y="48"/>
                  </a:lnTo>
                  <a:lnTo>
                    <a:pt x="64" y="72"/>
                  </a:lnTo>
                  <a:lnTo>
                    <a:pt x="72" y="88"/>
                  </a:lnTo>
                  <a:lnTo>
                    <a:pt x="48" y="112"/>
                  </a:lnTo>
                  <a:lnTo>
                    <a:pt x="40" y="112"/>
                  </a:lnTo>
                  <a:lnTo>
                    <a:pt x="32" y="144"/>
                  </a:lnTo>
                  <a:lnTo>
                    <a:pt x="32" y="160"/>
                  </a:lnTo>
                  <a:lnTo>
                    <a:pt x="32" y="176"/>
                  </a:lnTo>
                  <a:lnTo>
                    <a:pt x="16" y="200"/>
                  </a:lnTo>
                  <a:lnTo>
                    <a:pt x="8" y="216"/>
                  </a:lnTo>
                  <a:lnTo>
                    <a:pt x="0" y="256"/>
                  </a:lnTo>
                  <a:lnTo>
                    <a:pt x="8" y="272"/>
                  </a:lnTo>
                  <a:lnTo>
                    <a:pt x="56" y="272"/>
                  </a:lnTo>
                  <a:lnTo>
                    <a:pt x="80" y="328"/>
                  </a:lnTo>
                  <a:lnTo>
                    <a:pt x="88" y="368"/>
                  </a:lnTo>
                  <a:lnTo>
                    <a:pt x="112" y="328"/>
                  </a:lnTo>
                  <a:lnTo>
                    <a:pt x="120" y="336"/>
                  </a:lnTo>
                  <a:lnTo>
                    <a:pt x="152" y="304"/>
                  </a:lnTo>
                  <a:lnTo>
                    <a:pt x="152" y="280"/>
                  </a:lnTo>
                  <a:lnTo>
                    <a:pt x="184" y="272"/>
                  </a:lnTo>
                  <a:lnTo>
                    <a:pt x="200" y="232"/>
                  </a:lnTo>
                  <a:lnTo>
                    <a:pt x="216" y="224"/>
                  </a:lnTo>
                  <a:lnTo>
                    <a:pt x="216" y="200"/>
                  </a:lnTo>
                  <a:lnTo>
                    <a:pt x="240" y="200"/>
                  </a:lnTo>
                  <a:lnTo>
                    <a:pt x="248" y="160"/>
                  </a:lnTo>
                  <a:lnTo>
                    <a:pt x="240" y="128"/>
                  </a:lnTo>
                  <a:lnTo>
                    <a:pt x="248" y="120"/>
                  </a:lnTo>
                  <a:lnTo>
                    <a:pt x="232" y="104"/>
                  </a:lnTo>
                  <a:lnTo>
                    <a:pt x="248" y="96"/>
                  </a:lnTo>
                  <a:lnTo>
                    <a:pt x="256" y="104"/>
                  </a:lnTo>
                  <a:lnTo>
                    <a:pt x="272" y="80"/>
                  </a:lnTo>
                  <a:lnTo>
                    <a:pt x="272" y="56"/>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4" name="Freeform 16"/>
            <p:cNvSpPr/>
            <p:nvPr/>
          </p:nvSpPr>
          <p:spPr bwMode="auto">
            <a:xfrm>
              <a:off x="3298401" y="3747645"/>
              <a:ext cx="850522" cy="656184"/>
            </a:xfrm>
            <a:custGeom>
              <a:avLst/>
              <a:gdLst>
                <a:gd name="T0" fmla="*/ 2095147 w 505"/>
                <a:gd name="T1" fmla="*/ 269291 h 385"/>
                <a:gd name="T2" fmla="*/ 1793675 w 505"/>
                <a:gd name="T3" fmla="*/ 112489 h 385"/>
                <a:gd name="T4" fmla="*/ 1722939 w 505"/>
                <a:gd name="T5" fmla="*/ 158507 h 385"/>
                <a:gd name="T6" fmla="*/ 1589887 w 505"/>
                <a:gd name="T7" fmla="*/ 112489 h 385"/>
                <a:gd name="T8" fmla="*/ 1317046 w 505"/>
                <a:gd name="T9" fmla="*/ 158507 h 385"/>
                <a:gd name="T10" fmla="*/ 1317046 w 505"/>
                <a:gd name="T11" fmla="*/ 0 h 385"/>
                <a:gd name="T12" fmla="*/ 1183994 w 505"/>
                <a:gd name="T13" fmla="*/ 0 h 385"/>
                <a:gd name="T14" fmla="*/ 914522 w 505"/>
                <a:gd name="T15" fmla="*/ 22157 h 385"/>
                <a:gd name="T16" fmla="*/ 879153 w 505"/>
                <a:gd name="T17" fmla="*/ 112489 h 385"/>
                <a:gd name="T18" fmla="*/ 710733 w 505"/>
                <a:gd name="T19" fmla="*/ 69879 h 385"/>
                <a:gd name="T20" fmla="*/ 607997 w 505"/>
                <a:gd name="T21" fmla="*/ 136350 h 385"/>
                <a:gd name="T22" fmla="*/ 641681 w 505"/>
                <a:gd name="T23" fmla="*/ 247134 h 385"/>
                <a:gd name="T24" fmla="*/ 607997 w 505"/>
                <a:gd name="T25" fmla="*/ 317014 h 385"/>
                <a:gd name="T26" fmla="*/ 473261 w 505"/>
                <a:gd name="T27" fmla="*/ 475520 h 385"/>
                <a:gd name="T28" fmla="*/ 304841 w 505"/>
                <a:gd name="T29" fmla="*/ 632323 h 385"/>
                <a:gd name="T30" fmla="*/ 133052 w 505"/>
                <a:gd name="T31" fmla="*/ 766968 h 385"/>
                <a:gd name="T32" fmla="*/ 0 w 505"/>
                <a:gd name="T33" fmla="*/ 838552 h 385"/>
                <a:gd name="T34" fmla="*/ 33684 w 505"/>
                <a:gd name="T35" fmla="*/ 882866 h 385"/>
                <a:gd name="T36" fmla="*/ 69052 w 505"/>
                <a:gd name="T37" fmla="*/ 1015807 h 385"/>
                <a:gd name="T38" fmla="*/ 237472 w 505"/>
                <a:gd name="T39" fmla="*/ 1083982 h 385"/>
                <a:gd name="T40" fmla="*/ 170104 w 505"/>
                <a:gd name="T41" fmla="*/ 974902 h 385"/>
                <a:gd name="T42" fmla="*/ 336840 w 505"/>
                <a:gd name="T43" fmla="*/ 860709 h 385"/>
                <a:gd name="T44" fmla="*/ 641681 w 505"/>
                <a:gd name="T45" fmla="*/ 792534 h 385"/>
                <a:gd name="T46" fmla="*/ 811785 w 505"/>
                <a:gd name="T47" fmla="*/ 838552 h 385"/>
                <a:gd name="T48" fmla="*/ 1012205 w 505"/>
                <a:gd name="T49" fmla="*/ 700498 h 385"/>
                <a:gd name="T50" fmla="*/ 1114942 w 505"/>
                <a:gd name="T51" fmla="*/ 678341 h 385"/>
                <a:gd name="T52" fmla="*/ 1114942 w 505"/>
                <a:gd name="T53" fmla="*/ 608462 h 385"/>
                <a:gd name="T54" fmla="*/ 1183994 w 505"/>
                <a:gd name="T55" fmla="*/ 586305 h 385"/>
                <a:gd name="T56" fmla="*/ 1421466 w 505"/>
                <a:gd name="T57" fmla="*/ 654480 h 385"/>
                <a:gd name="T58" fmla="*/ 1421466 w 505"/>
                <a:gd name="T59" fmla="*/ 565852 h 385"/>
                <a:gd name="T60" fmla="*/ 1589887 w 505"/>
                <a:gd name="T61" fmla="*/ 543695 h 385"/>
                <a:gd name="T62" fmla="*/ 1653886 w 505"/>
                <a:gd name="T63" fmla="*/ 565852 h 385"/>
                <a:gd name="T64" fmla="*/ 1690939 w 505"/>
                <a:gd name="T65" fmla="*/ 521538 h 385"/>
                <a:gd name="T66" fmla="*/ 1893043 w 505"/>
                <a:gd name="T67" fmla="*/ 497677 h 385"/>
                <a:gd name="T68" fmla="*/ 2027779 w 505"/>
                <a:gd name="T69" fmla="*/ 385189 h 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05"/>
                <a:gd name="T106" fmla="*/ 0 h 385"/>
                <a:gd name="T107" fmla="*/ 505 w 505"/>
                <a:gd name="T108" fmla="*/ 385 h 3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05" h="385">
                  <a:moveTo>
                    <a:pt x="504" y="128"/>
                  </a:moveTo>
                  <a:lnTo>
                    <a:pt x="496" y="96"/>
                  </a:lnTo>
                  <a:lnTo>
                    <a:pt x="472" y="40"/>
                  </a:lnTo>
                  <a:lnTo>
                    <a:pt x="424" y="40"/>
                  </a:lnTo>
                  <a:lnTo>
                    <a:pt x="416" y="32"/>
                  </a:lnTo>
                  <a:lnTo>
                    <a:pt x="408" y="56"/>
                  </a:lnTo>
                  <a:lnTo>
                    <a:pt x="392" y="56"/>
                  </a:lnTo>
                  <a:lnTo>
                    <a:pt x="376" y="40"/>
                  </a:lnTo>
                  <a:lnTo>
                    <a:pt x="320" y="64"/>
                  </a:lnTo>
                  <a:lnTo>
                    <a:pt x="312" y="56"/>
                  </a:lnTo>
                  <a:lnTo>
                    <a:pt x="336" y="8"/>
                  </a:lnTo>
                  <a:lnTo>
                    <a:pt x="312" y="0"/>
                  </a:lnTo>
                  <a:lnTo>
                    <a:pt x="296" y="16"/>
                  </a:lnTo>
                  <a:lnTo>
                    <a:pt x="280" y="0"/>
                  </a:lnTo>
                  <a:lnTo>
                    <a:pt x="272" y="8"/>
                  </a:lnTo>
                  <a:lnTo>
                    <a:pt x="216" y="8"/>
                  </a:lnTo>
                  <a:lnTo>
                    <a:pt x="224" y="40"/>
                  </a:lnTo>
                  <a:lnTo>
                    <a:pt x="208" y="40"/>
                  </a:lnTo>
                  <a:lnTo>
                    <a:pt x="176" y="16"/>
                  </a:lnTo>
                  <a:lnTo>
                    <a:pt x="168" y="24"/>
                  </a:lnTo>
                  <a:lnTo>
                    <a:pt x="168" y="48"/>
                  </a:lnTo>
                  <a:lnTo>
                    <a:pt x="144" y="48"/>
                  </a:lnTo>
                  <a:lnTo>
                    <a:pt x="144" y="72"/>
                  </a:lnTo>
                  <a:lnTo>
                    <a:pt x="152" y="88"/>
                  </a:lnTo>
                  <a:lnTo>
                    <a:pt x="144" y="96"/>
                  </a:lnTo>
                  <a:lnTo>
                    <a:pt x="144" y="112"/>
                  </a:lnTo>
                  <a:lnTo>
                    <a:pt x="112" y="144"/>
                  </a:lnTo>
                  <a:lnTo>
                    <a:pt x="112" y="168"/>
                  </a:lnTo>
                  <a:lnTo>
                    <a:pt x="104" y="200"/>
                  </a:lnTo>
                  <a:lnTo>
                    <a:pt x="72" y="224"/>
                  </a:lnTo>
                  <a:lnTo>
                    <a:pt x="48" y="256"/>
                  </a:lnTo>
                  <a:lnTo>
                    <a:pt x="32" y="272"/>
                  </a:lnTo>
                  <a:lnTo>
                    <a:pt x="8" y="280"/>
                  </a:lnTo>
                  <a:lnTo>
                    <a:pt x="0" y="296"/>
                  </a:lnTo>
                  <a:lnTo>
                    <a:pt x="16" y="304"/>
                  </a:lnTo>
                  <a:lnTo>
                    <a:pt x="8" y="312"/>
                  </a:lnTo>
                  <a:lnTo>
                    <a:pt x="8" y="352"/>
                  </a:lnTo>
                  <a:lnTo>
                    <a:pt x="16" y="360"/>
                  </a:lnTo>
                  <a:lnTo>
                    <a:pt x="16" y="384"/>
                  </a:lnTo>
                  <a:lnTo>
                    <a:pt x="56" y="384"/>
                  </a:lnTo>
                  <a:lnTo>
                    <a:pt x="56" y="360"/>
                  </a:lnTo>
                  <a:lnTo>
                    <a:pt x="40" y="344"/>
                  </a:lnTo>
                  <a:lnTo>
                    <a:pt x="48" y="312"/>
                  </a:lnTo>
                  <a:lnTo>
                    <a:pt x="80" y="304"/>
                  </a:lnTo>
                  <a:lnTo>
                    <a:pt x="104" y="304"/>
                  </a:lnTo>
                  <a:lnTo>
                    <a:pt x="152" y="280"/>
                  </a:lnTo>
                  <a:lnTo>
                    <a:pt x="184" y="280"/>
                  </a:lnTo>
                  <a:lnTo>
                    <a:pt x="192" y="296"/>
                  </a:lnTo>
                  <a:lnTo>
                    <a:pt x="208" y="264"/>
                  </a:lnTo>
                  <a:lnTo>
                    <a:pt x="240" y="248"/>
                  </a:lnTo>
                  <a:lnTo>
                    <a:pt x="248" y="224"/>
                  </a:lnTo>
                  <a:lnTo>
                    <a:pt x="264" y="240"/>
                  </a:lnTo>
                  <a:lnTo>
                    <a:pt x="272" y="240"/>
                  </a:lnTo>
                  <a:lnTo>
                    <a:pt x="264" y="216"/>
                  </a:lnTo>
                  <a:lnTo>
                    <a:pt x="264" y="184"/>
                  </a:lnTo>
                  <a:lnTo>
                    <a:pt x="280" y="208"/>
                  </a:lnTo>
                  <a:lnTo>
                    <a:pt x="288" y="232"/>
                  </a:lnTo>
                  <a:lnTo>
                    <a:pt x="336" y="232"/>
                  </a:lnTo>
                  <a:lnTo>
                    <a:pt x="320" y="216"/>
                  </a:lnTo>
                  <a:lnTo>
                    <a:pt x="336" y="200"/>
                  </a:lnTo>
                  <a:lnTo>
                    <a:pt x="360" y="208"/>
                  </a:lnTo>
                  <a:lnTo>
                    <a:pt x="376" y="192"/>
                  </a:lnTo>
                  <a:lnTo>
                    <a:pt x="392" y="192"/>
                  </a:lnTo>
                  <a:lnTo>
                    <a:pt x="392" y="200"/>
                  </a:lnTo>
                  <a:lnTo>
                    <a:pt x="400" y="200"/>
                  </a:lnTo>
                  <a:lnTo>
                    <a:pt x="400" y="184"/>
                  </a:lnTo>
                  <a:lnTo>
                    <a:pt x="424" y="192"/>
                  </a:lnTo>
                  <a:lnTo>
                    <a:pt x="448" y="176"/>
                  </a:lnTo>
                  <a:lnTo>
                    <a:pt x="472" y="168"/>
                  </a:lnTo>
                  <a:lnTo>
                    <a:pt x="480" y="136"/>
                  </a:lnTo>
                  <a:lnTo>
                    <a:pt x="504" y="128"/>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5" name="Freeform 17"/>
            <p:cNvSpPr/>
            <p:nvPr/>
          </p:nvSpPr>
          <p:spPr bwMode="auto">
            <a:xfrm>
              <a:off x="2732320" y="3624418"/>
              <a:ext cx="837911" cy="656184"/>
            </a:xfrm>
            <a:custGeom>
              <a:avLst/>
              <a:gdLst>
                <a:gd name="T0" fmla="*/ 1463394 w 497"/>
                <a:gd name="T1" fmla="*/ 974902 h 385"/>
                <a:gd name="T2" fmla="*/ 1773606 w 497"/>
                <a:gd name="T3" fmla="*/ 838552 h 385"/>
                <a:gd name="T4" fmla="*/ 1906795 w 497"/>
                <a:gd name="T5" fmla="*/ 678341 h 385"/>
                <a:gd name="T6" fmla="*/ 2039985 w 497"/>
                <a:gd name="T7" fmla="*/ 521538 h 385"/>
                <a:gd name="T8" fmla="*/ 2109108 w 497"/>
                <a:gd name="T9" fmla="*/ 453363 h 385"/>
                <a:gd name="T10" fmla="*/ 2039985 w 497"/>
                <a:gd name="T11" fmla="*/ 364736 h 385"/>
                <a:gd name="T12" fmla="*/ 1940514 w 497"/>
                <a:gd name="T13" fmla="*/ 269291 h 385"/>
                <a:gd name="T14" fmla="*/ 1869705 w 497"/>
                <a:gd name="T15" fmla="*/ 317014 h 385"/>
                <a:gd name="T16" fmla="*/ 1803953 w 497"/>
                <a:gd name="T17" fmla="*/ 294857 h 385"/>
                <a:gd name="T18" fmla="*/ 1869705 w 497"/>
                <a:gd name="T19" fmla="*/ 158507 h 385"/>
                <a:gd name="T20" fmla="*/ 1869705 w 497"/>
                <a:gd name="T21" fmla="*/ 46018 h 385"/>
                <a:gd name="T22" fmla="*/ 1734830 w 497"/>
                <a:gd name="T23" fmla="*/ 22157 h 385"/>
                <a:gd name="T24" fmla="*/ 1598269 w 497"/>
                <a:gd name="T25" fmla="*/ 69879 h 385"/>
                <a:gd name="T26" fmla="*/ 1529145 w 497"/>
                <a:gd name="T27" fmla="*/ 69879 h 385"/>
                <a:gd name="T28" fmla="*/ 1358866 w 497"/>
                <a:gd name="T29" fmla="*/ 90332 h 385"/>
                <a:gd name="T30" fmla="*/ 1227363 w 497"/>
                <a:gd name="T31" fmla="*/ 180664 h 385"/>
                <a:gd name="T32" fmla="*/ 1126206 w 497"/>
                <a:gd name="T33" fmla="*/ 204525 h 385"/>
                <a:gd name="T34" fmla="*/ 954241 w 497"/>
                <a:gd name="T35" fmla="*/ 269291 h 385"/>
                <a:gd name="T36" fmla="*/ 780589 w 497"/>
                <a:gd name="T37" fmla="*/ 247134 h 385"/>
                <a:gd name="T38" fmla="*/ 681119 w 497"/>
                <a:gd name="T39" fmla="*/ 204525 h 385"/>
                <a:gd name="T40" fmla="*/ 610309 w 497"/>
                <a:gd name="T41" fmla="*/ 247134 h 385"/>
                <a:gd name="T42" fmla="*/ 409683 w 497"/>
                <a:gd name="T43" fmla="*/ 364736 h 385"/>
                <a:gd name="T44" fmla="*/ 139933 w 497"/>
                <a:gd name="T45" fmla="*/ 317014 h 385"/>
                <a:gd name="T46" fmla="*/ 0 w 497"/>
                <a:gd name="T47" fmla="*/ 364736 h 385"/>
                <a:gd name="T48" fmla="*/ 139933 w 497"/>
                <a:gd name="T49" fmla="*/ 407345 h 385"/>
                <a:gd name="T50" fmla="*/ 375964 w 497"/>
                <a:gd name="T51" fmla="*/ 475520 h 385"/>
                <a:gd name="T52" fmla="*/ 440030 w 497"/>
                <a:gd name="T53" fmla="*/ 586305 h 385"/>
                <a:gd name="T54" fmla="*/ 237717 w 497"/>
                <a:gd name="T55" fmla="*/ 632323 h 385"/>
                <a:gd name="T56" fmla="*/ 375964 w 497"/>
                <a:gd name="T57" fmla="*/ 700498 h 385"/>
                <a:gd name="T58" fmla="*/ 578277 w 497"/>
                <a:gd name="T59" fmla="*/ 792534 h 385"/>
                <a:gd name="T60" fmla="*/ 578277 w 497"/>
                <a:gd name="T61" fmla="*/ 860709 h 385"/>
                <a:gd name="T62" fmla="*/ 885117 w 497"/>
                <a:gd name="T63" fmla="*/ 1015807 h 385"/>
                <a:gd name="T64" fmla="*/ 1055397 w 497"/>
                <a:gd name="T65" fmla="*/ 1015807 h 385"/>
                <a:gd name="T66" fmla="*/ 1089116 w 497"/>
                <a:gd name="T67" fmla="*/ 974902 h 385"/>
                <a:gd name="T68" fmla="*/ 1257709 w 497"/>
                <a:gd name="T69" fmla="*/ 1061825 h 385"/>
                <a:gd name="T70" fmla="*/ 1427989 w 497"/>
                <a:gd name="T71" fmla="*/ 1039668 h 3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7"/>
                <a:gd name="T109" fmla="*/ 0 h 385"/>
                <a:gd name="T110" fmla="*/ 497 w 497"/>
                <a:gd name="T111" fmla="*/ 385 h 38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7" h="385">
                  <a:moveTo>
                    <a:pt x="336" y="368"/>
                  </a:moveTo>
                  <a:lnTo>
                    <a:pt x="344" y="344"/>
                  </a:lnTo>
                  <a:lnTo>
                    <a:pt x="368" y="344"/>
                  </a:lnTo>
                  <a:lnTo>
                    <a:pt x="416" y="296"/>
                  </a:lnTo>
                  <a:lnTo>
                    <a:pt x="440" y="272"/>
                  </a:lnTo>
                  <a:lnTo>
                    <a:pt x="448" y="240"/>
                  </a:lnTo>
                  <a:lnTo>
                    <a:pt x="448" y="216"/>
                  </a:lnTo>
                  <a:lnTo>
                    <a:pt x="480" y="184"/>
                  </a:lnTo>
                  <a:lnTo>
                    <a:pt x="480" y="168"/>
                  </a:lnTo>
                  <a:lnTo>
                    <a:pt x="496" y="160"/>
                  </a:lnTo>
                  <a:lnTo>
                    <a:pt x="480" y="152"/>
                  </a:lnTo>
                  <a:lnTo>
                    <a:pt x="480" y="128"/>
                  </a:lnTo>
                  <a:lnTo>
                    <a:pt x="456" y="128"/>
                  </a:lnTo>
                  <a:lnTo>
                    <a:pt x="456" y="96"/>
                  </a:lnTo>
                  <a:lnTo>
                    <a:pt x="440" y="96"/>
                  </a:lnTo>
                  <a:lnTo>
                    <a:pt x="440" y="112"/>
                  </a:lnTo>
                  <a:lnTo>
                    <a:pt x="424" y="112"/>
                  </a:lnTo>
                  <a:lnTo>
                    <a:pt x="424" y="104"/>
                  </a:lnTo>
                  <a:lnTo>
                    <a:pt x="432" y="64"/>
                  </a:lnTo>
                  <a:lnTo>
                    <a:pt x="440" y="56"/>
                  </a:lnTo>
                  <a:lnTo>
                    <a:pt x="440" y="40"/>
                  </a:lnTo>
                  <a:lnTo>
                    <a:pt x="440" y="16"/>
                  </a:lnTo>
                  <a:lnTo>
                    <a:pt x="432" y="0"/>
                  </a:lnTo>
                  <a:lnTo>
                    <a:pt x="408" y="8"/>
                  </a:lnTo>
                  <a:lnTo>
                    <a:pt x="392" y="8"/>
                  </a:lnTo>
                  <a:lnTo>
                    <a:pt x="376" y="24"/>
                  </a:lnTo>
                  <a:lnTo>
                    <a:pt x="360" y="32"/>
                  </a:lnTo>
                  <a:lnTo>
                    <a:pt x="360" y="24"/>
                  </a:lnTo>
                  <a:lnTo>
                    <a:pt x="344" y="32"/>
                  </a:lnTo>
                  <a:lnTo>
                    <a:pt x="320" y="32"/>
                  </a:lnTo>
                  <a:lnTo>
                    <a:pt x="304" y="40"/>
                  </a:lnTo>
                  <a:lnTo>
                    <a:pt x="288" y="64"/>
                  </a:lnTo>
                  <a:lnTo>
                    <a:pt x="272" y="56"/>
                  </a:lnTo>
                  <a:lnTo>
                    <a:pt x="264" y="72"/>
                  </a:lnTo>
                  <a:lnTo>
                    <a:pt x="232" y="72"/>
                  </a:lnTo>
                  <a:lnTo>
                    <a:pt x="224" y="96"/>
                  </a:lnTo>
                  <a:lnTo>
                    <a:pt x="200" y="104"/>
                  </a:lnTo>
                  <a:lnTo>
                    <a:pt x="184" y="88"/>
                  </a:lnTo>
                  <a:lnTo>
                    <a:pt x="176" y="64"/>
                  </a:lnTo>
                  <a:lnTo>
                    <a:pt x="160" y="72"/>
                  </a:lnTo>
                  <a:lnTo>
                    <a:pt x="160" y="88"/>
                  </a:lnTo>
                  <a:lnTo>
                    <a:pt x="144" y="88"/>
                  </a:lnTo>
                  <a:lnTo>
                    <a:pt x="104" y="112"/>
                  </a:lnTo>
                  <a:lnTo>
                    <a:pt x="96" y="128"/>
                  </a:lnTo>
                  <a:lnTo>
                    <a:pt x="48" y="112"/>
                  </a:lnTo>
                  <a:lnTo>
                    <a:pt x="32" y="112"/>
                  </a:lnTo>
                  <a:lnTo>
                    <a:pt x="24" y="120"/>
                  </a:lnTo>
                  <a:lnTo>
                    <a:pt x="0" y="128"/>
                  </a:lnTo>
                  <a:lnTo>
                    <a:pt x="0" y="144"/>
                  </a:lnTo>
                  <a:lnTo>
                    <a:pt x="32" y="144"/>
                  </a:lnTo>
                  <a:lnTo>
                    <a:pt x="40" y="160"/>
                  </a:lnTo>
                  <a:lnTo>
                    <a:pt x="88" y="168"/>
                  </a:lnTo>
                  <a:lnTo>
                    <a:pt x="96" y="176"/>
                  </a:lnTo>
                  <a:lnTo>
                    <a:pt x="104" y="208"/>
                  </a:lnTo>
                  <a:lnTo>
                    <a:pt x="64" y="208"/>
                  </a:lnTo>
                  <a:lnTo>
                    <a:pt x="56" y="224"/>
                  </a:lnTo>
                  <a:lnTo>
                    <a:pt x="64" y="240"/>
                  </a:lnTo>
                  <a:lnTo>
                    <a:pt x="88" y="248"/>
                  </a:lnTo>
                  <a:lnTo>
                    <a:pt x="136" y="264"/>
                  </a:lnTo>
                  <a:lnTo>
                    <a:pt x="136" y="280"/>
                  </a:lnTo>
                  <a:lnTo>
                    <a:pt x="120" y="288"/>
                  </a:lnTo>
                  <a:lnTo>
                    <a:pt x="136" y="304"/>
                  </a:lnTo>
                  <a:lnTo>
                    <a:pt x="136" y="328"/>
                  </a:lnTo>
                  <a:lnTo>
                    <a:pt x="208" y="360"/>
                  </a:lnTo>
                  <a:lnTo>
                    <a:pt x="224" y="360"/>
                  </a:lnTo>
                  <a:lnTo>
                    <a:pt x="248" y="360"/>
                  </a:lnTo>
                  <a:lnTo>
                    <a:pt x="256" y="368"/>
                  </a:lnTo>
                  <a:lnTo>
                    <a:pt x="256" y="344"/>
                  </a:lnTo>
                  <a:lnTo>
                    <a:pt x="288" y="352"/>
                  </a:lnTo>
                  <a:lnTo>
                    <a:pt x="296" y="376"/>
                  </a:lnTo>
                  <a:lnTo>
                    <a:pt x="312" y="384"/>
                  </a:lnTo>
                  <a:lnTo>
                    <a:pt x="336" y="368"/>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6" name="Freeform 18"/>
            <p:cNvSpPr/>
            <p:nvPr/>
          </p:nvSpPr>
          <p:spPr bwMode="auto">
            <a:xfrm>
              <a:off x="2652452" y="3256277"/>
              <a:ext cx="622128" cy="603813"/>
            </a:xfrm>
            <a:custGeom>
              <a:avLst/>
              <a:gdLst>
                <a:gd name="T0" fmla="*/ 205690 w 369"/>
                <a:gd name="T1" fmla="*/ 923680 h 353"/>
                <a:gd name="T2" fmla="*/ 139937 w 369"/>
                <a:gd name="T3" fmla="*/ 761181 h 353"/>
                <a:gd name="T4" fmla="*/ 237724 w 369"/>
                <a:gd name="T5" fmla="*/ 554208 h 353"/>
                <a:gd name="T6" fmla="*/ 33720 w 369"/>
                <a:gd name="T7" fmla="*/ 463550 h 353"/>
                <a:gd name="T8" fmla="*/ 69125 w 369"/>
                <a:gd name="T9" fmla="*/ 395130 h 353"/>
                <a:gd name="T10" fmla="*/ 205690 w 369"/>
                <a:gd name="T11" fmla="*/ 395130 h 353"/>
                <a:gd name="T12" fmla="*/ 440042 w 369"/>
                <a:gd name="T13" fmla="*/ 345525 h 353"/>
                <a:gd name="T14" fmla="*/ 711485 w 369"/>
                <a:gd name="T15" fmla="*/ 323288 h 353"/>
                <a:gd name="T16" fmla="*/ 578292 w 369"/>
                <a:gd name="T17" fmla="*/ 230920 h 353"/>
                <a:gd name="T18" fmla="*/ 610326 w 369"/>
                <a:gd name="T19" fmla="*/ 114605 h 353"/>
                <a:gd name="T20" fmla="*/ 780610 w 369"/>
                <a:gd name="T21" fmla="*/ 114605 h 353"/>
                <a:gd name="T22" fmla="*/ 885141 w 369"/>
                <a:gd name="T23" fmla="*/ 138552 h 353"/>
                <a:gd name="T24" fmla="*/ 986300 w 369"/>
                <a:gd name="T25" fmla="*/ 114605 h 353"/>
                <a:gd name="T26" fmla="*/ 1055426 w 369"/>
                <a:gd name="T27" fmla="*/ 0 h 353"/>
                <a:gd name="T28" fmla="*/ 1227396 w 369"/>
                <a:gd name="T29" fmla="*/ 46184 h 353"/>
                <a:gd name="T30" fmla="*/ 1358903 w 369"/>
                <a:gd name="T31" fmla="*/ 208683 h 353"/>
                <a:gd name="T32" fmla="*/ 1463434 w 369"/>
                <a:gd name="T33" fmla="*/ 254867 h 353"/>
                <a:gd name="T34" fmla="*/ 1529187 w 369"/>
                <a:gd name="T35" fmla="*/ 186447 h 353"/>
                <a:gd name="T36" fmla="*/ 1529187 w 369"/>
                <a:gd name="T37" fmla="*/ 278815 h 353"/>
                <a:gd name="T38" fmla="*/ 1529187 w 369"/>
                <a:gd name="T39" fmla="*/ 367761 h 353"/>
                <a:gd name="T40" fmla="*/ 1428028 w 369"/>
                <a:gd name="T41" fmla="*/ 487498 h 353"/>
                <a:gd name="T42" fmla="*/ 1564593 w 369"/>
                <a:gd name="T43" fmla="*/ 531971 h 353"/>
                <a:gd name="T44" fmla="*/ 1529187 w 369"/>
                <a:gd name="T45" fmla="*/ 600392 h 353"/>
                <a:gd name="T46" fmla="*/ 1564593 w 369"/>
                <a:gd name="T47" fmla="*/ 672234 h 353"/>
                <a:gd name="T48" fmla="*/ 1463434 w 369"/>
                <a:gd name="T49" fmla="*/ 738944 h 353"/>
                <a:gd name="T50" fmla="*/ 1463434 w 369"/>
                <a:gd name="T51" fmla="*/ 807365 h 353"/>
                <a:gd name="T52" fmla="*/ 1325183 w 369"/>
                <a:gd name="T53" fmla="*/ 831312 h 353"/>
                <a:gd name="T54" fmla="*/ 1154899 w 369"/>
                <a:gd name="T55" fmla="*/ 898022 h 353"/>
                <a:gd name="T56" fmla="*/ 986300 w 369"/>
                <a:gd name="T57" fmla="*/ 877496 h 353"/>
                <a:gd name="T58" fmla="*/ 885141 w 369"/>
                <a:gd name="T59" fmla="*/ 831312 h 353"/>
                <a:gd name="T60" fmla="*/ 817702 w 369"/>
                <a:gd name="T61" fmla="*/ 877496 h 353"/>
                <a:gd name="T62" fmla="*/ 610326 w 369"/>
                <a:gd name="T63" fmla="*/ 1016048 h 353"/>
                <a:gd name="T64" fmla="*/ 340569 w 369"/>
                <a:gd name="T65" fmla="*/ 947627 h 3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9"/>
                <a:gd name="T100" fmla="*/ 0 h 353"/>
                <a:gd name="T101" fmla="*/ 369 w 369"/>
                <a:gd name="T102" fmla="*/ 353 h 3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9" h="353">
                  <a:moveTo>
                    <a:pt x="48" y="344"/>
                  </a:moveTo>
                  <a:lnTo>
                    <a:pt x="48" y="320"/>
                  </a:lnTo>
                  <a:lnTo>
                    <a:pt x="64" y="296"/>
                  </a:lnTo>
                  <a:lnTo>
                    <a:pt x="32" y="264"/>
                  </a:lnTo>
                  <a:lnTo>
                    <a:pt x="56" y="224"/>
                  </a:lnTo>
                  <a:lnTo>
                    <a:pt x="56" y="192"/>
                  </a:lnTo>
                  <a:lnTo>
                    <a:pt x="8" y="200"/>
                  </a:lnTo>
                  <a:lnTo>
                    <a:pt x="8" y="160"/>
                  </a:lnTo>
                  <a:lnTo>
                    <a:pt x="0" y="152"/>
                  </a:lnTo>
                  <a:lnTo>
                    <a:pt x="16" y="136"/>
                  </a:lnTo>
                  <a:lnTo>
                    <a:pt x="32" y="144"/>
                  </a:lnTo>
                  <a:lnTo>
                    <a:pt x="48" y="136"/>
                  </a:lnTo>
                  <a:lnTo>
                    <a:pt x="96" y="136"/>
                  </a:lnTo>
                  <a:lnTo>
                    <a:pt x="104" y="120"/>
                  </a:lnTo>
                  <a:lnTo>
                    <a:pt x="112" y="112"/>
                  </a:lnTo>
                  <a:lnTo>
                    <a:pt x="168" y="112"/>
                  </a:lnTo>
                  <a:lnTo>
                    <a:pt x="160" y="80"/>
                  </a:lnTo>
                  <a:lnTo>
                    <a:pt x="136" y="80"/>
                  </a:lnTo>
                  <a:lnTo>
                    <a:pt x="128" y="56"/>
                  </a:lnTo>
                  <a:lnTo>
                    <a:pt x="144" y="40"/>
                  </a:lnTo>
                  <a:lnTo>
                    <a:pt x="168" y="48"/>
                  </a:lnTo>
                  <a:lnTo>
                    <a:pt x="184" y="40"/>
                  </a:lnTo>
                  <a:lnTo>
                    <a:pt x="192" y="56"/>
                  </a:lnTo>
                  <a:lnTo>
                    <a:pt x="208" y="48"/>
                  </a:lnTo>
                  <a:lnTo>
                    <a:pt x="208" y="24"/>
                  </a:lnTo>
                  <a:lnTo>
                    <a:pt x="232" y="40"/>
                  </a:lnTo>
                  <a:lnTo>
                    <a:pt x="240" y="8"/>
                  </a:lnTo>
                  <a:lnTo>
                    <a:pt x="248" y="0"/>
                  </a:lnTo>
                  <a:lnTo>
                    <a:pt x="264" y="16"/>
                  </a:lnTo>
                  <a:lnTo>
                    <a:pt x="288" y="16"/>
                  </a:lnTo>
                  <a:lnTo>
                    <a:pt x="312" y="72"/>
                  </a:lnTo>
                  <a:lnTo>
                    <a:pt x="320" y="72"/>
                  </a:lnTo>
                  <a:lnTo>
                    <a:pt x="328" y="88"/>
                  </a:lnTo>
                  <a:lnTo>
                    <a:pt x="344" y="88"/>
                  </a:lnTo>
                  <a:lnTo>
                    <a:pt x="352" y="72"/>
                  </a:lnTo>
                  <a:lnTo>
                    <a:pt x="360" y="64"/>
                  </a:lnTo>
                  <a:lnTo>
                    <a:pt x="368" y="88"/>
                  </a:lnTo>
                  <a:lnTo>
                    <a:pt x="360" y="96"/>
                  </a:lnTo>
                  <a:lnTo>
                    <a:pt x="360" y="112"/>
                  </a:lnTo>
                  <a:lnTo>
                    <a:pt x="360" y="128"/>
                  </a:lnTo>
                  <a:lnTo>
                    <a:pt x="336" y="152"/>
                  </a:lnTo>
                  <a:lnTo>
                    <a:pt x="336" y="168"/>
                  </a:lnTo>
                  <a:lnTo>
                    <a:pt x="360" y="168"/>
                  </a:lnTo>
                  <a:lnTo>
                    <a:pt x="368" y="184"/>
                  </a:lnTo>
                  <a:lnTo>
                    <a:pt x="360" y="192"/>
                  </a:lnTo>
                  <a:lnTo>
                    <a:pt x="360" y="208"/>
                  </a:lnTo>
                  <a:lnTo>
                    <a:pt x="360" y="232"/>
                  </a:lnTo>
                  <a:lnTo>
                    <a:pt x="368" y="232"/>
                  </a:lnTo>
                  <a:lnTo>
                    <a:pt x="368" y="248"/>
                  </a:lnTo>
                  <a:lnTo>
                    <a:pt x="344" y="256"/>
                  </a:lnTo>
                  <a:lnTo>
                    <a:pt x="344" y="272"/>
                  </a:lnTo>
                  <a:lnTo>
                    <a:pt x="344" y="280"/>
                  </a:lnTo>
                  <a:lnTo>
                    <a:pt x="320" y="272"/>
                  </a:lnTo>
                  <a:lnTo>
                    <a:pt x="312" y="288"/>
                  </a:lnTo>
                  <a:lnTo>
                    <a:pt x="280" y="288"/>
                  </a:lnTo>
                  <a:lnTo>
                    <a:pt x="272" y="312"/>
                  </a:lnTo>
                  <a:lnTo>
                    <a:pt x="248" y="320"/>
                  </a:lnTo>
                  <a:lnTo>
                    <a:pt x="232" y="304"/>
                  </a:lnTo>
                  <a:lnTo>
                    <a:pt x="224" y="280"/>
                  </a:lnTo>
                  <a:lnTo>
                    <a:pt x="208" y="288"/>
                  </a:lnTo>
                  <a:lnTo>
                    <a:pt x="208" y="304"/>
                  </a:lnTo>
                  <a:lnTo>
                    <a:pt x="192" y="304"/>
                  </a:lnTo>
                  <a:lnTo>
                    <a:pt x="152" y="328"/>
                  </a:lnTo>
                  <a:lnTo>
                    <a:pt x="144" y="352"/>
                  </a:lnTo>
                  <a:lnTo>
                    <a:pt x="96" y="328"/>
                  </a:lnTo>
                  <a:lnTo>
                    <a:pt x="80" y="328"/>
                  </a:lnTo>
                  <a:lnTo>
                    <a:pt x="48" y="344"/>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7" name="Freeform 19"/>
            <p:cNvSpPr/>
            <p:nvPr/>
          </p:nvSpPr>
          <p:spPr bwMode="auto">
            <a:xfrm>
              <a:off x="1950456" y="3214688"/>
              <a:ext cx="958414" cy="1052052"/>
            </a:xfrm>
            <a:custGeom>
              <a:avLst/>
              <a:gdLst>
                <a:gd name="T0" fmla="*/ 2231808 w 569"/>
                <a:gd name="T1" fmla="*/ 1270306 h 617"/>
                <a:gd name="T2" fmla="*/ 2368243 w 569"/>
                <a:gd name="T3" fmla="*/ 1176525 h 617"/>
                <a:gd name="T4" fmla="*/ 2231808 w 569"/>
                <a:gd name="T5" fmla="*/ 1154359 h 617"/>
                <a:gd name="T6" fmla="*/ 2095373 w 569"/>
                <a:gd name="T7" fmla="*/ 1087859 h 617"/>
                <a:gd name="T8" fmla="*/ 1963991 w 569"/>
                <a:gd name="T9" fmla="*/ 1021360 h 617"/>
                <a:gd name="T10" fmla="*/ 2031366 w 569"/>
                <a:gd name="T11" fmla="*/ 905413 h 617"/>
                <a:gd name="T12" fmla="*/ 1995994 w 569"/>
                <a:gd name="T13" fmla="*/ 704210 h 617"/>
                <a:gd name="T14" fmla="*/ 1793868 w 569"/>
                <a:gd name="T15" fmla="*/ 636006 h 617"/>
                <a:gd name="T16" fmla="*/ 1756812 w 569"/>
                <a:gd name="T17" fmla="*/ 499597 h 617"/>
                <a:gd name="T18" fmla="*/ 1894931 w 569"/>
                <a:gd name="T19" fmla="*/ 475725 h 617"/>
                <a:gd name="T20" fmla="*/ 2161064 w 569"/>
                <a:gd name="T21" fmla="*/ 453559 h 617"/>
                <a:gd name="T22" fmla="*/ 2161064 w 569"/>
                <a:gd name="T23" fmla="*/ 317150 h 617"/>
                <a:gd name="T24" fmla="*/ 1963991 w 569"/>
                <a:gd name="T25" fmla="*/ 317150 h 617"/>
                <a:gd name="T26" fmla="*/ 1825871 w 569"/>
                <a:gd name="T27" fmla="*/ 180742 h 617"/>
                <a:gd name="T28" fmla="*/ 1723124 w 569"/>
                <a:gd name="T29" fmla="*/ 271112 h 617"/>
                <a:gd name="T30" fmla="*/ 1623745 w 569"/>
                <a:gd name="T31" fmla="*/ 407521 h 617"/>
                <a:gd name="T32" fmla="*/ 1553001 w 569"/>
                <a:gd name="T33" fmla="*/ 680338 h 617"/>
                <a:gd name="T34" fmla="*/ 1421619 w 569"/>
                <a:gd name="T35" fmla="*/ 636006 h 617"/>
                <a:gd name="T36" fmla="*/ 1216125 w 569"/>
                <a:gd name="T37" fmla="*/ 680338 h 617"/>
                <a:gd name="T38" fmla="*/ 1148749 w 569"/>
                <a:gd name="T39" fmla="*/ 636006 h 617"/>
                <a:gd name="T40" fmla="*/ 980311 w 569"/>
                <a:gd name="T41" fmla="*/ 294984 h 617"/>
                <a:gd name="T42" fmla="*/ 914620 w 569"/>
                <a:gd name="T43" fmla="*/ 317150 h 617"/>
                <a:gd name="T44" fmla="*/ 880932 w 569"/>
                <a:gd name="T45" fmla="*/ 208023 h 617"/>
                <a:gd name="T46" fmla="*/ 677122 w 569"/>
                <a:gd name="T47" fmla="*/ 112537 h 617"/>
                <a:gd name="T48" fmla="*/ 574375 w 569"/>
                <a:gd name="T49" fmla="*/ 230190 h 617"/>
                <a:gd name="T50" fmla="*/ 574375 w 569"/>
                <a:gd name="T51" fmla="*/ 0 h 617"/>
                <a:gd name="T52" fmla="*/ 473312 w 569"/>
                <a:gd name="T53" fmla="*/ 0 h 617"/>
                <a:gd name="T54" fmla="*/ 404252 w 569"/>
                <a:gd name="T55" fmla="*/ 90371 h 617"/>
                <a:gd name="T56" fmla="*/ 372249 w 569"/>
                <a:gd name="T57" fmla="*/ 180742 h 617"/>
                <a:gd name="T58" fmla="*/ 336877 w 569"/>
                <a:gd name="T59" fmla="*/ 271112 h 617"/>
                <a:gd name="T60" fmla="*/ 437940 w 569"/>
                <a:gd name="T61" fmla="*/ 317150 h 617"/>
                <a:gd name="T62" fmla="*/ 372249 w 569"/>
                <a:gd name="T63" fmla="*/ 680338 h 617"/>
                <a:gd name="T64" fmla="*/ 101063 w 569"/>
                <a:gd name="T65" fmla="*/ 794581 h 617"/>
                <a:gd name="T66" fmla="*/ 33688 w 569"/>
                <a:gd name="T67" fmla="*/ 883246 h 617"/>
                <a:gd name="T68" fmla="*/ 0 w 569"/>
                <a:gd name="T69" fmla="*/ 1062283 h 617"/>
                <a:gd name="T70" fmla="*/ 203810 w 569"/>
                <a:gd name="T71" fmla="*/ 1041821 h 617"/>
                <a:gd name="T72" fmla="*/ 336877 w 569"/>
                <a:gd name="T73" fmla="*/ 1110026 h 617"/>
                <a:gd name="T74" fmla="*/ 372249 w 569"/>
                <a:gd name="T75" fmla="*/ 1154359 h 617"/>
                <a:gd name="T76" fmla="*/ 404252 w 569"/>
                <a:gd name="T77" fmla="*/ 1270306 h 617"/>
                <a:gd name="T78" fmla="*/ 506999 w 569"/>
                <a:gd name="T79" fmla="*/ 1316344 h 617"/>
                <a:gd name="T80" fmla="*/ 473312 w 569"/>
                <a:gd name="T81" fmla="*/ 1428881 h 617"/>
                <a:gd name="T82" fmla="*/ 437940 w 569"/>
                <a:gd name="T83" fmla="*/ 1493675 h 617"/>
                <a:gd name="T84" fmla="*/ 609747 w 569"/>
                <a:gd name="T85" fmla="*/ 1585751 h 617"/>
                <a:gd name="T86" fmla="*/ 843876 w 569"/>
                <a:gd name="T87" fmla="*/ 1635199 h 617"/>
                <a:gd name="T88" fmla="*/ 943255 w 569"/>
                <a:gd name="T89" fmla="*/ 1607917 h 617"/>
                <a:gd name="T90" fmla="*/ 980311 w 569"/>
                <a:gd name="T91" fmla="*/ 1699993 h 617"/>
                <a:gd name="T92" fmla="*/ 1115062 w 569"/>
                <a:gd name="T93" fmla="*/ 1677827 h 617"/>
                <a:gd name="T94" fmla="*/ 1148749 w 569"/>
                <a:gd name="T95" fmla="*/ 1451047 h 617"/>
                <a:gd name="T96" fmla="*/ 1386247 w 569"/>
                <a:gd name="T97" fmla="*/ 1428881 h 617"/>
                <a:gd name="T98" fmla="*/ 1485626 w 569"/>
                <a:gd name="T99" fmla="*/ 1451047 h 617"/>
                <a:gd name="T100" fmla="*/ 1623745 w 569"/>
                <a:gd name="T101" fmla="*/ 1451047 h 617"/>
                <a:gd name="T102" fmla="*/ 1756812 w 569"/>
                <a:gd name="T103" fmla="*/ 1476624 h 617"/>
                <a:gd name="T104" fmla="*/ 1862928 w 569"/>
                <a:gd name="T105" fmla="*/ 1428881 h 617"/>
                <a:gd name="T106" fmla="*/ 2066738 w 569"/>
                <a:gd name="T107" fmla="*/ 1336805 h 617"/>
                <a:gd name="T108" fmla="*/ 2198120 w 569"/>
                <a:gd name="T109" fmla="*/ 1316344 h 6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69"/>
                <a:gd name="T166" fmla="*/ 0 h 617"/>
                <a:gd name="T167" fmla="*/ 569 w 569"/>
                <a:gd name="T168" fmla="*/ 617 h 61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69" h="617">
                  <a:moveTo>
                    <a:pt x="520" y="464"/>
                  </a:moveTo>
                  <a:lnTo>
                    <a:pt x="528" y="448"/>
                  </a:lnTo>
                  <a:lnTo>
                    <a:pt x="568" y="448"/>
                  </a:lnTo>
                  <a:lnTo>
                    <a:pt x="560" y="416"/>
                  </a:lnTo>
                  <a:lnTo>
                    <a:pt x="552" y="400"/>
                  </a:lnTo>
                  <a:lnTo>
                    <a:pt x="528" y="408"/>
                  </a:lnTo>
                  <a:lnTo>
                    <a:pt x="504" y="400"/>
                  </a:lnTo>
                  <a:lnTo>
                    <a:pt x="496" y="384"/>
                  </a:lnTo>
                  <a:lnTo>
                    <a:pt x="464" y="384"/>
                  </a:lnTo>
                  <a:lnTo>
                    <a:pt x="464" y="360"/>
                  </a:lnTo>
                  <a:lnTo>
                    <a:pt x="464" y="344"/>
                  </a:lnTo>
                  <a:lnTo>
                    <a:pt x="480" y="320"/>
                  </a:lnTo>
                  <a:lnTo>
                    <a:pt x="448" y="288"/>
                  </a:lnTo>
                  <a:lnTo>
                    <a:pt x="472" y="248"/>
                  </a:lnTo>
                  <a:lnTo>
                    <a:pt x="472" y="216"/>
                  </a:lnTo>
                  <a:lnTo>
                    <a:pt x="424" y="224"/>
                  </a:lnTo>
                  <a:lnTo>
                    <a:pt x="424" y="184"/>
                  </a:lnTo>
                  <a:lnTo>
                    <a:pt x="416" y="176"/>
                  </a:lnTo>
                  <a:lnTo>
                    <a:pt x="432" y="160"/>
                  </a:lnTo>
                  <a:lnTo>
                    <a:pt x="448" y="168"/>
                  </a:lnTo>
                  <a:lnTo>
                    <a:pt x="464" y="152"/>
                  </a:lnTo>
                  <a:lnTo>
                    <a:pt x="512" y="160"/>
                  </a:lnTo>
                  <a:lnTo>
                    <a:pt x="528" y="136"/>
                  </a:lnTo>
                  <a:lnTo>
                    <a:pt x="512" y="112"/>
                  </a:lnTo>
                  <a:lnTo>
                    <a:pt x="488" y="128"/>
                  </a:lnTo>
                  <a:lnTo>
                    <a:pt x="464" y="112"/>
                  </a:lnTo>
                  <a:lnTo>
                    <a:pt x="464" y="64"/>
                  </a:lnTo>
                  <a:lnTo>
                    <a:pt x="432" y="64"/>
                  </a:lnTo>
                  <a:lnTo>
                    <a:pt x="424" y="96"/>
                  </a:lnTo>
                  <a:lnTo>
                    <a:pt x="408" y="96"/>
                  </a:lnTo>
                  <a:lnTo>
                    <a:pt x="408" y="120"/>
                  </a:lnTo>
                  <a:lnTo>
                    <a:pt x="384" y="144"/>
                  </a:lnTo>
                  <a:lnTo>
                    <a:pt x="368" y="144"/>
                  </a:lnTo>
                  <a:lnTo>
                    <a:pt x="368" y="240"/>
                  </a:lnTo>
                  <a:lnTo>
                    <a:pt x="344" y="240"/>
                  </a:lnTo>
                  <a:lnTo>
                    <a:pt x="336" y="224"/>
                  </a:lnTo>
                  <a:lnTo>
                    <a:pt x="320" y="240"/>
                  </a:lnTo>
                  <a:lnTo>
                    <a:pt x="288" y="240"/>
                  </a:lnTo>
                  <a:lnTo>
                    <a:pt x="288" y="232"/>
                  </a:lnTo>
                  <a:lnTo>
                    <a:pt x="272" y="224"/>
                  </a:lnTo>
                  <a:lnTo>
                    <a:pt x="272" y="192"/>
                  </a:lnTo>
                  <a:lnTo>
                    <a:pt x="232" y="104"/>
                  </a:lnTo>
                  <a:lnTo>
                    <a:pt x="216" y="104"/>
                  </a:lnTo>
                  <a:lnTo>
                    <a:pt x="216" y="112"/>
                  </a:lnTo>
                  <a:lnTo>
                    <a:pt x="200" y="88"/>
                  </a:lnTo>
                  <a:lnTo>
                    <a:pt x="208" y="72"/>
                  </a:lnTo>
                  <a:lnTo>
                    <a:pt x="176" y="32"/>
                  </a:lnTo>
                  <a:lnTo>
                    <a:pt x="160" y="40"/>
                  </a:lnTo>
                  <a:lnTo>
                    <a:pt x="152" y="80"/>
                  </a:lnTo>
                  <a:lnTo>
                    <a:pt x="136" y="80"/>
                  </a:lnTo>
                  <a:lnTo>
                    <a:pt x="136" y="64"/>
                  </a:lnTo>
                  <a:lnTo>
                    <a:pt x="136" y="0"/>
                  </a:lnTo>
                  <a:lnTo>
                    <a:pt x="120" y="16"/>
                  </a:lnTo>
                  <a:lnTo>
                    <a:pt x="112" y="0"/>
                  </a:lnTo>
                  <a:lnTo>
                    <a:pt x="96" y="16"/>
                  </a:lnTo>
                  <a:lnTo>
                    <a:pt x="96" y="32"/>
                  </a:lnTo>
                  <a:lnTo>
                    <a:pt x="104" y="64"/>
                  </a:lnTo>
                  <a:lnTo>
                    <a:pt x="88" y="64"/>
                  </a:lnTo>
                  <a:lnTo>
                    <a:pt x="72" y="64"/>
                  </a:lnTo>
                  <a:lnTo>
                    <a:pt x="80" y="96"/>
                  </a:lnTo>
                  <a:lnTo>
                    <a:pt x="80" y="112"/>
                  </a:lnTo>
                  <a:lnTo>
                    <a:pt x="104" y="112"/>
                  </a:lnTo>
                  <a:lnTo>
                    <a:pt x="104" y="168"/>
                  </a:lnTo>
                  <a:lnTo>
                    <a:pt x="88" y="240"/>
                  </a:lnTo>
                  <a:lnTo>
                    <a:pt x="40" y="272"/>
                  </a:lnTo>
                  <a:lnTo>
                    <a:pt x="24" y="280"/>
                  </a:lnTo>
                  <a:lnTo>
                    <a:pt x="16" y="288"/>
                  </a:lnTo>
                  <a:lnTo>
                    <a:pt x="8" y="312"/>
                  </a:lnTo>
                  <a:lnTo>
                    <a:pt x="8" y="360"/>
                  </a:lnTo>
                  <a:lnTo>
                    <a:pt x="0" y="376"/>
                  </a:lnTo>
                  <a:lnTo>
                    <a:pt x="32" y="376"/>
                  </a:lnTo>
                  <a:lnTo>
                    <a:pt x="48" y="368"/>
                  </a:lnTo>
                  <a:lnTo>
                    <a:pt x="88" y="376"/>
                  </a:lnTo>
                  <a:lnTo>
                    <a:pt x="80" y="392"/>
                  </a:lnTo>
                  <a:lnTo>
                    <a:pt x="72" y="392"/>
                  </a:lnTo>
                  <a:lnTo>
                    <a:pt x="88" y="408"/>
                  </a:lnTo>
                  <a:lnTo>
                    <a:pt x="80" y="432"/>
                  </a:lnTo>
                  <a:lnTo>
                    <a:pt x="96" y="448"/>
                  </a:lnTo>
                  <a:lnTo>
                    <a:pt x="120" y="448"/>
                  </a:lnTo>
                  <a:lnTo>
                    <a:pt x="120" y="464"/>
                  </a:lnTo>
                  <a:lnTo>
                    <a:pt x="112" y="472"/>
                  </a:lnTo>
                  <a:lnTo>
                    <a:pt x="112" y="504"/>
                  </a:lnTo>
                  <a:lnTo>
                    <a:pt x="96" y="504"/>
                  </a:lnTo>
                  <a:lnTo>
                    <a:pt x="104" y="528"/>
                  </a:lnTo>
                  <a:lnTo>
                    <a:pt x="144" y="528"/>
                  </a:lnTo>
                  <a:lnTo>
                    <a:pt x="144" y="560"/>
                  </a:lnTo>
                  <a:lnTo>
                    <a:pt x="160" y="568"/>
                  </a:lnTo>
                  <a:lnTo>
                    <a:pt x="200" y="576"/>
                  </a:lnTo>
                  <a:lnTo>
                    <a:pt x="216" y="560"/>
                  </a:lnTo>
                  <a:lnTo>
                    <a:pt x="224" y="568"/>
                  </a:lnTo>
                  <a:lnTo>
                    <a:pt x="216" y="592"/>
                  </a:lnTo>
                  <a:lnTo>
                    <a:pt x="232" y="600"/>
                  </a:lnTo>
                  <a:lnTo>
                    <a:pt x="264" y="616"/>
                  </a:lnTo>
                  <a:lnTo>
                    <a:pt x="264" y="592"/>
                  </a:lnTo>
                  <a:lnTo>
                    <a:pt x="264" y="520"/>
                  </a:lnTo>
                  <a:lnTo>
                    <a:pt x="272" y="512"/>
                  </a:lnTo>
                  <a:lnTo>
                    <a:pt x="320" y="512"/>
                  </a:lnTo>
                  <a:lnTo>
                    <a:pt x="328" y="504"/>
                  </a:lnTo>
                  <a:lnTo>
                    <a:pt x="344" y="504"/>
                  </a:lnTo>
                  <a:lnTo>
                    <a:pt x="352" y="512"/>
                  </a:lnTo>
                  <a:lnTo>
                    <a:pt x="376" y="504"/>
                  </a:lnTo>
                  <a:lnTo>
                    <a:pt x="384" y="512"/>
                  </a:lnTo>
                  <a:lnTo>
                    <a:pt x="392" y="504"/>
                  </a:lnTo>
                  <a:lnTo>
                    <a:pt x="416" y="520"/>
                  </a:lnTo>
                  <a:lnTo>
                    <a:pt x="416" y="504"/>
                  </a:lnTo>
                  <a:lnTo>
                    <a:pt x="440" y="504"/>
                  </a:lnTo>
                  <a:lnTo>
                    <a:pt x="480" y="496"/>
                  </a:lnTo>
                  <a:lnTo>
                    <a:pt x="488" y="472"/>
                  </a:lnTo>
                  <a:lnTo>
                    <a:pt x="504" y="464"/>
                  </a:lnTo>
                  <a:lnTo>
                    <a:pt x="520" y="464"/>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8" name="Freeform 20"/>
            <p:cNvSpPr/>
            <p:nvPr/>
          </p:nvSpPr>
          <p:spPr bwMode="auto">
            <a:xfrm>
              <a:off x="161137" y="1997820"/>
              <a:ext cx="2037330" cy="1340095"/>
            </a:xfrm>
            <a:custGeom>
              <a:avLst/>
              <a:gdLst>
                <a:gd name="T0" fmla="*/ 5020022 w 1209"/>
                <a:gd name="T1" fmla="*/ 2077574 h 785"/>
                <a:gd name="T2" fmla="*/ 4918913 w 1209"/>
                <a:gd name="T3" fmla="*/ 2077574 h 785"/>
                <a:gd name="T4" fmla="*/ 4918913 w 1209"/>
                <a:gd name="T5" fmla="*/ 2238044 h 785"/>
                <a:gd name="T6" fmla="*/ 4713327 w 1209"/>
                <a:gd name="T7" fmla="*/ 2168052 h 785"/>
                <a:gd name="T8" fmla="*/ 4610533 w 1209"/>
                <a:gd name="T9" fmla="*/ 2145859 h 785"/>
                <a:gd name="T10" fmla="*/ 4342597 w 1209"/>
                <a:gd name="T11" fmla="*/ 2055381 h 785"/>
                <a:gd name="T12" fmla="*/ 4411687 w 1209"/>
                <a:gd name="T13" fmla="*/ 1981975 h 785"/>
                <a:gd name="T14" fmla="*/ 4372929 w 1209"/>
                <a:gd name="T15" fmla="*/ 1942711 h 785"/>
                <a:gd name="T16" fmla="*/ 4241489 w 1209"/>
                <a:gd name="T17" fmla="*/ 1894911 h 785"/>
                <a:gd name="T18" fmla="*/ 4138695 w 1209"/>
                <a:gd name="T19" fmla="*/ 1942711 h 785"/>
                <a:gd name="T20" fmla="*/ 3933109 w 1209"/>
                <a:gd name="T21" fmla="*/ 1850526 h 785"/>
                <a:gd name="T22" fmla="*/ 3528676 w 1209"/>
                <a:gd name="T23" fmla="*/ 1981975 h 785"/>
                <a:gd name="T24" fmla="*/ 3427568 w 1209"/>
                <a:gd name="T25" fmla="*/ 2055381 h 785"/>
                <a:gd name="T26" fmla="*/ 3090540 w 1209"/>
                <a:gd name="T27" fmla="*/ 2099767 h 785"/>
                <a:gd name="T28" fmla="*/ 2780475 w 1209"/>
                <a:gd name="T29" fmla="*/ 2031482 h 785"/>
                <a:gd name="T30" fmla="*/ 2679367 w 1209"/>
                <a:gd name="T31" fmla="*/ 1942711 h 785"/>
                <a:gd name="T32" fmla="*/ 2473780 w 1209"/>
                <a:gd name="T33" fmla="*/ 2009289 h 785"/>
                <a:gd name="T34" fmla="*/ 2273249 w 1209"/>
                <a:gd name="T35" fmla="*/ 2077574 h 785"/>
                <a:gd name="T36" fmla="*/ 1932852 w 1209"/>
                <a:gd name="T37" fmla="*/ 1918811 h 785"/>
                <a:gd name="T38" fmla="*/ 1730635 w 1209"/>
                <a:gd name="T39" fmla="*/ 1824919 h 785"/>
                <a:gd name="T40" fmla="*/ 1528419 w 1209"/>
                <a:gd name="T41" fmla="*/ 1782241 h 785"/>
                <a:gd name="T42" fmla="*/ 1358220 w 1209"/>
                <a:gd name="T43" fmla="*/ 1690056 h 785"/>
                <a:gd name="T44" fmla="*/ 1152633 w 1209"/>
                <a:gd name="T45" fmla="*/ 1483494 h 785"/>
                <a:gd name="T46" fmla="*/ 1049840 w 1209"/>
                <a:gd name="T47" fmla="*/ 1457887 h 785"/>
                <a:gd name="T48" fmla="*/ 881326 w 1209"/>
                <a:gd name="T49" fmla="*/ 1300831 h 785"/>
                <a:gd name="T50" fmla="*/ 677425 w 1209"/>
                <a:gd name="T51" fmla="*/ 1097683 h 785"/>
                <a:gd name="T52" fmla="*/ 507226 w 1209"/>
                <a:gd name="T53" fmla="*/ 1164261 h 785"/>
                <a:gd name="T54" fmla="*/ 272992 w 1209"/>
                <a:gd name="T55" fmla="*/ 937213 h 785"/>
                <a:gd name="T56" fmla="*/ 133126 w 1209"/>
                <a:gd name="T57" fmla="*/ 775036 h 785"/>
                <a:gd name="T58" fmla="*/ 0 w 1209"/>
                <a:gd name="T59" fmla="*/ 732358 h 785"/>
                <a:gd name="T60" fmla="*/ 69091 w 1209"/>
                <a:gd name="T61" fmla="*/ 501895 h 785"/>
                <a:gd name="T62" fmla="*/ 203902 w 1209"/>
                <a:gd name="T63" fmla="*/ 547988 h 785"/>
                <a:gd name="T64" fmla="*/ 337027 w 1209"/>
                <a:gd name="T65" fmla="*/ 524088 h 785"/>
                <a:gd name="T66" fmla="*/ 337027 w 1209"/>
                <a:gd name="T67" fmla="*/ 365325 h 785"/>
                <a:gd name="T68" fmla="*/ 237604 w 1209"/>
                <a:gd name="T69" fmla="*/ 273140 h 785"/>
                <a:gd name="T70" fmla="*/ 337027 w 1209"/>
                <a:gd name="T71" fmla="*/ 136570 h 785"/>
                <a:gd name="T72" fmla="*/ 647092 w 1209"/>
                <a:gd name="T73" fmla="*/ 112670 h 785"/>
                <a:gd name="T74" fmla="*/ 881326 w 1209"/>
                <a:gd name="T75" fmla="*/ 22193 h 785"/>
                <a:gd name="T76" fmla="*/ 1218354 w 1209"/>
                <a:gd name="T77" fmla="*/ 46092 h 785"/>
                <a:gd name="T78" fmla="*/ 1459328 w 1209"/>
                <a:gd name="T79" fmla="*/ 158763 h 785"/>
                <a:gd name="T80" fmla="*/ 1831743 w 1209"/>
                <a:gd name="T81" fmla="*/ 158763 h 785"/>
                <a:gd name="T82" fmla="*/ 2239546 w 1209"/>
                <a:gd name="T83" fmla="*/ 112670 h 785"/>
                <a:gd name="T84" fmla="*/ 2817548 w 1209"/>
                <a:gd name="T85" fmla="*/ 158763 h 785"/>
                <a:gd name="T86" fmla="*/ 3018079 w 1209"/>
                <a:gd name="T87" fmla="*/ 208270 h 785"/>
                <a:gd name="T88" fmla="*/ 2984377 w 1209"/>
                <a:gd name="T89" fmla="*/ 273140 h 785"/>
                <a:gd name="T90" fmla="*/ 3090540 w 1209"/>
                <a:gd name="T91" fmla="*/ 387518 h 785"/>
                <a:gd name="T92" fmla="*/ 3018079 w 1209"/>
                <a:gd name="T93" fmla="*/ 524088 h 785"/>
                <a:gd name="T94" fmla="*/ 2950674 w 1209"/>
                <a:gd name="T95" fmla="*/ 710165 h 785"/>
                <a:gd name="T96" fmla="*/ 3119188 w 1209"/>
                <a:gd name="T97" fmla="*/ 913313 h 785"/>
                <a:gd name="T98" fmla="*/ 3528676 w 1209"/>
                <a:gd name="T99" fmla="*/ 1049883 h 785"/>
                <a:gd name="T100" fmla="*/ 3968496 w 1209"/>
                <a:gd name="T101" fmla="*/ 1186454 h 785"/>
                <a:gd name="T102" fmla="*/ 4207786 w 1209"/>
                <a:gd name="T103" fmla="*/ 1208646 h 785"/>
                <a:gd name="T104" fmla="*/ 4271821 w 1209"/>
                <a:gd name="T105" fmla="*/ 1372530 h 785"/>
                <a:gd name="T106" fmla="*/ 4411687 w 1209"/>
                <a:gd name="T107" fmla="*/ 1416916 h 785"/>
                <a:gd name="T108" fmla="*/ 4474037 w 1209"/>
                <a:gd name="T109" fmla="*/ 1348631 h 785"/>
                <a:gd name="T110" fmla="*/ 4580201 w 1209"/>
                <a:gd name="T111" fmla="*/ 1372530 h 785"/>
                <a:gd name="T112" fmla="*/ 4644236 w 1209"/>
                <a:gd name="T113" fmla="*/ 1324731 h 785"/>
                <a:gd name="T114" fmla="*/ 4814435 w 1209"/>
                <a:gd name="T115" fmla="*/ 1258153 h 785"/>
                <a:gd name="T116" fmla="*/ 4988004 w 1209"/>
                <a:gd name="T117" fmla="*/ 1300831 h 785"/>
                <a:gd name="T118" fmla="*/ 5121130 w 1209"/>
                <a:gd name="T119" fmla="*/ 1527879 h 785"/>
                <a:gd name="T120" fmla="*/ 5121130 w 1209"/>
                <a:gd name="T121" fmla="*/ 1643964 h 785"/>
                <a:gd name="T122" fmla="*/ 5087427 w 1209"/>
                <a:gd name="T123" fmla="*/ 2031482 h 7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09"/>
                <a:gd name="T187" fmla="*/ 0 h 785"/>
                <a:gd name="T188" fmla="*/ 1209 w 1209"/>
                <a:gd name="T189" fmla="*/ 785 h 78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09" h="785">
                  <a:moveTo>
                    <a:pt x="1200" y="712"/>
                  </a:moveTo>
                  <a:lnTo>
                    <a:pt x="1184" y="728"/>
                  </a:lnTo>
                  <a:lnTo>
                    <a:pt x="1176" y="712"/>
                  </a:lnTo>
                  <a:lnTo>
                    <a:pt x="1160" y="728"/>
                  </a:lnTo>
                  <a:lnTo>
                    <a:pt x="1168" y="776"/>
                  </a:lnTo>
                  <a:lnTo>
                    <a:pt x="1160" y="784"/>
                  </a:lnTo>
                  <a:lnTo>
                    <a:pt x="1136" y="776"/>
                  </a:lnTo>
                  <a:lnTo>
                    <a:pt x="1112" y="760"/>
                  </a:lnTo>
                  <a:lnTo>
                    <a:pt x="1112" y="744"/>
                  </a:lnTo>
                  <a:lnTo>
                    <a:pt x="1088" y="752"/>
                  </a:lnTo>
                  <a:lnTo>
                    <a:pt x="1024" y="728"/>
                  </a:lnTo>
                  <a:lnTo>
                    <a:pt x="1024" y="720"/>
                  </a:lnTo>
                  <a:lnTo>
                    <a:pt x="1040" y="712"/>
                  </a:lnTo>
                  <a:lnTo>
                    <a:pt x="1040" y="696"/>
                  </a:lnTo>
                  <a:lnTo>
                    <a:pt x="1024" y="688"/>
                  </a:lnTo>
                  <a:lnTo>
                    <a:pt x="1032" y="680"/>
                  </a:lnTo>
                  <a:lnTo>
                    <a:pt x="1016" y="656"/>
                  </a:lnTo>
                  <a:lnTo>
                    <a:pt x="1000" y="664"/>
                  </a:lnTo>
                  <a:lnTo>
                    <a:pt x="984" y="672"/>
                  </a:lnTo>
                  <a:lnTo>
                    <a:pt x="976" y="680"/>
                  </a:lnTo>
                  <a:lnTo>
                    <a:pt x="960" y="680"/>
                  </a:lnTo>
                  <a:lnTo>
                    <a:pt x="928" y="648"/>
                  </a:lnTo>
                  <a:lnTo>
                    <a:pt x="864" y="696"/>
                  </a:lnTo>
                  <a:lnTo>
                    <a:pt x="832" y="696"/>
                  </a:lnTo>
                  <a:lnTo>
                    <a:pt x="824" y="720"/>
                  </a:lnTo>
                  <a:lnTo>
                    <a:pt x="808" y="720"/>
                  </a:lnTo>
                  <a:lnTo>
                    <a:pt x="760" y="744"/>
                  </a:lnTo>
                  <a:lnTo>
                    <a:pt x="728" y="736"/>
                  </a:lnTo>
                  <a:lnTo>
                    <a:pt x="712" y="712"/>
                  </a:lnTo>
                  <a:lnTo>
                    <a:pt x="656" y="712"/>
                  </a:lnTo>
                  <a:lnTo>
                    <a:pt x="664" y="688"/>
                  </a:lnTo>
                  <a:lnTo>
                    <a:pt x="632" y="680"/>
                  </a:lnTo>
                  <a:lnTo>
                    <a:pt x="600" y="680"/>
                  </a:lnTo>
                  <a:lnTo>
                    <a:pt x="584" y="704"/>
                  </a:lnTo>
                  <a:lnTo>
                    <a:pt x="552" y="728"/>
                  </a:lnTo>
                  <a:lnTo>
                    <a:pt x="536" y="728"/>
                  </a:lnTo>
                  <a:lnTo>
                    <a:pt x="544" y="680"/>
                  </a:lnTo>
                  <a:lnTo>
                    <a:pt x="456" y="672"/>
                  </a:lnTo>
                  <a:lnTo>
                    <a:pt x="424" y="640"/>
                  </a:lnTo>
                  <a:lnTo>
                    <a:pt x="408" y="640"/>
                  </a:lnTo>
                  <a:lnTo>
                    <a:pt x="392" y="648"/>
                  </a:lnTo>
                  <a:lnTo>
                    <a:pt x="360" y="624"/>
                  </a:lnTo>
                  <a:lnTo>
                    <a:pt x="336" y="600"/>
                  </a:lnTo>
                  <a:lnTo>
                    <a:pt x="320" y="592"/>
                  </a:lnTo>
                  <a:lnTo>
                    <a:pt x="280" y="544"/>
                  </a:lnTo>
                  <a:lnTo>
                    <a:pt x="272" y="520"/>
                  </a:lnTo>
                  <a:lnTo>
                    <a:pt x="264" y="512"/>
                  </a:lnTo>
                  <a:lnTo>
                    <a:pt x="248" y="512"/>
                  </a:lnTo>
                  <a:lnTo>
                    <a:pt x="224" y="464"/>
                  </a:lnTo>
                  <a:lnTo>
                    <a:pt x="208" y="456"/>
                  </a:lnTo>
                  <a:lnTo>
                    <a:pt x="192" y="424"/>
                  </a:lnTo>
                  <a:lnTo>
                    <a:pt x="160" y="384"/>
                  </a:lnTo>
                  <a:lnTo>
                    <a:pt x="144" y="384"/>
                  </a:lnTo>
                  <a:lnTo>
                    <a:pt x="120" y="408"/>
                  </a:lnTo>
                  <a:lnTo>
                    <a:pt x="96" y="376"/>
                  </a:lnTo>
                  <a:lnTo>
                    <a:pt x="64" y="328"/>
                  </a:lnTo>
                  <a:lnTo>
                    <a:pt x="40" y="304"/>
                  </a:lnTo>
                  <a:lnTo>
                    <a:pt x="32" y="272"/>
                  </a:lnTo>
                  <a:lnTo>
                    <a:pt x="8" y="280"/>
                  </a:lnTo>
                  <a:lnTo>
                    <a:pt x="0" y="256"/>
                  </a:lnTo>
                  <a:lnTo>
                    <a:pt x="8" y="248"/>
                  </a:lnTo>
                  <a:lnTo>
                    <a:pt x="16" y="176"/>
                  </a:lnTo>
                  <a:lnTo>
                    <a:pt x="32" y="168"/>
                  </a:lnTo>
                  <a:lnTo>
                    <a:pt x="48" y="192"/>
                  </a:lnTo>
                  <a:lnTo>
                    <a:pt x="64" y="184"/>
                  </a:lnTo>
                  <a:lnTo>
                    <a:pt x="80" y="184"/>
                  </a:lnTo>
                  <a:lnTo>
                    <a:pt x="72" y="144"/>
                  </a:lnTo>
                  <a:lnTo>
                    <a:pt x="80" y="128"/>
                  </a:lnTo>
                  <a:lnTo>
                    <a:pt x="56" y="120"/>
                  </a:lnTo>
                  <a:lnTo>
                    <a:pt x="56" y="96"/>
                  </a:lnTo>
                  <a:lnTo>
                    <a:pt x="64" y="56"/>
                  </a:lnTo>
                  <a:lnTo>
                    <a:pt x="80" y="48"/>
                  </a:lnTo>
                  <a:lnTo>
                    <a:pt x="120" y="56"/>
                  </a:lnTo>
                  <a:lnTo>
                    <a:pt x="152" y="40"/>
                  </a:lnTo>
                  <a:lnTo>
                    <a:pt x="176" y="0"/>
                  </a:lnTo>
                  <a:lnTo>
                    <a:pt x="208" y="8"/>
                  </a:lnTo>
                  <a:lnTo>
                    <a:pt x="272" y="32"/>
                  </a:lnTo>
                  <a:lnTo>
                    <a:pt x="288" y="16"/>
                  </a:lnTo>
                  <a:lnTo>
                    <a:pt x="336" y="24"/>
                  </a:lnTo>
                  <a:lnTo>
                    <a:pt x="344" y="56"/>
                  </a:lnTo>
                  <a:lnTo>
                    <a:pt x="408" y="72"/>
                  </a:lnTo>
                  <a:lnTo>
                    <a:pt x="432" y="56"/>
                  </a:lnTo>
                  <a:lnTo>
                    <a:pt x="504" y="56"/>
                  </a:lnTo>
                  <a:lnTo>
                    <a:pt x="528" y="40"/>
                  </a:lnTo>
                  <a:lnTo>
                    <a:pt x="640" y="32"/>
                  </a:lnTo>
                  <a:lnTo>
                    <a:pt x="664" y="56"/>
                  </a:lnTo>
                  <a:lnTo>
                    <a:pt x="696" y="64"/>
                  </a:lnTo>
                  <a:lnTo>
                    <a:pt x="712" y="72"/>
                  </a:lnTo>
                  <a:lnTo>
                    <a:pt x="720" y="88"/>
                  </a:lnTo>
                  <a:lnTo>
                    <a:pt x="704" y="96"/>
                  </a:lnTo>
                  <a:lnTo>
                    <a:pt x="728" y="104"/>
                  </a:lnTo>
                  <a:lnTo>
                    <a:pt x="728" y="136"/>
                  </a:lnTo>
                  <a:lnTo>
                    <a:pt x="704" y="168"/>
                  </a:lnTo>
                  <a:lnTo>
                    <a:pt x="712" y="184"/>
                  </a:lnTo>
                  <a:lnTo>
                    <a:pt x="704" y="232"/>
                  </a:lnTo>
                  <a:lnTo>
                    <a:pt x="696" y="248"/>
                  </a:lnTo>
                  <a:lnTo>
                    <a:pt x="712" y="296"/>
                  </a:lnTo>
                  <a:lnTo>
                    <a:pt x="736" y="320"/>
                  </a:lnTo>
                  <a:lnTo>
                    <a:pt x="784" y="320"/>
                  </a:lnTo>
                  <a:lnTo>
                    <a:pt x="832" y="368"/>
                  </a:lnTo>
                  <a:lnTo>
                    <a:pt x="864" y="376"/>
                  </a:lnTo>
                  <a:lnTo>
                    <a:pt x="936" y="416"/>
                  </a:lnTo>
                  <a:lnTo>
                    <a:pt x="968" y="400"/>
                  </a:lnTo>
                  <a:lnTo>
                    <a:pt x="992" y="424"/>
                  </a:lnTo>
                  <a:lnTo>
                    <a:pt x="1016" y="448"/>
                  </a:lnTo>
                  <a:lnTo>
                    <a:pt x="1008" y="480"/>
                  </a:lnTo>
                  <a:lnTo>
                    <a:pt x="1040" y="480"/>
                  </a:lnTo>
                  <a:lnTo>
                    <a:pt x="1040" y="496"/>
                  </a:lnTo>
                  <a:lnTo>
                    <a:pt x="1064" y="496"/>
                  </a:lnTo>
                  <a:lnTo>
                    <a:pt x="1056" y="472"/>
                  </a:lnTo>
                  <a:lnTo>
                    <a:pt x="1072" y="472"/>
                  </a:lnTo>
                  <a:lnTo>
                    <a:pt x="1080" y="480"/>
                  </a:lnTo>
                  <a:lnTo>
                    <a:pt x="1096" y="480"/>
                  </a:lnTo>
                  <a:lnTo>
                    <a:pt x="1096" y="464"/>
                  </a:lnTo>
                  <a:lnTo>
                    <a:pt x="1120" y="464"/>
                  </a:lnTo>
                  <a:lnTo>
                    <a:pt x="1136" y="440"/>
                  </a:lnTo>
                  <a:lnTo>
                    <a:pt x="1152" y="432"/>
                  </a:lnTo>
                  <a:lnTo>
                    <a:pt x="1176" y="456"/>
                  </a:lnTo>
                  <a:lnTo>
                    <a:pt x="1176" y="480"/>
                  </a:lnTo>
                  <a:lnTo>
                    <a:pt x="1208" y="536"/>
                  </a:lnTo>
                  <a:lnTo>
                    <a:pt x="1192" y="544"/>
                  </a:lnTo>
                  <a:lnTo>
                    <a:pt x="1208" y="576"/>
                  </a:lnTo>
                  <a:lnTo>
                    <a:pt x="1208" y="608"/>
                  </a:lnTo>
                  <a:lnTo>
                    <a:pt x="1200" y="712"/>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9" name="Freeform 21"/>
            <p:cNvSpPr/>
            <p:nvPr/>
          </p:nvSpPr>
          <p:spPr bwMode="auto">
            <a:xfrm>
              <a:off x="2075162" y="2546180"/>
              <a:ext cx="1279286" cy="1079778"/>
            </a:xfrm>
            <a:custGeom>
              <a:avLst/>
              <a:gdLst>
                <a:gd name="T0" fmla="*/ 2908232 w 761"/>
                <a:gd name="T1" fmla="*/ 1385118 h 633"/>
                <a:gd name="T2" fmla="*/ 2807369 w 761"/>
                <a:gd name="T3" fmla="*/ 1429469 h 633"/>
                <a:gd name="T4" fmla="*/ 2740126 w 761"/>
                <a:gd name="T5" fmla="*/ 1385118 h 633"/>
                <a:gd name="T6" fmla="*/ 2541761 w 761"/>
                <a:gd name="T7" fmla="*/ 1226478 h 633"/>
                <a:gd name="T8" fmla="*/ 2442579 w 761"/>
                <a:gd name="T9" fmla="*/ 1206008 h 633"/>
                <a:gd name="T10" fmla="*/ 2304732 w 761"/>
                <a:gd name="T11" fmla="*/ 1248653 h 633"/>
                <a:gd name="T12" fmla="*/ 2239171 w 761"/>
                <a:gd name="T13" fmla="*/ 1340767 h 633"/>
                <a:gd name="T14" fmla="*/ 2139988 w 761"/>
                <a:gd name="T15" fmla="*/ 1318591 h 633"/>
                <a:gd name="T16" fmla="*/ 1971882 w 761"/>
                <a:gd name="T17" fmla="*/ 1340767 h 633"/>
                <a:gd name="T18" fmla="*/ 2108048 w 761"/>
                <a:gd name="T19" fmla="*/ 1407294 h 633"/>
                <a:gd name="T20" fmla="*/ 1904640 w 761"/>
                <a:gd name="T21" fmla="*/ 1501113 h 633"/>
                <a:gd name="T22" fmla="*/ 1739896 w 761"/>
                <a:gd name="T23" fmla="*/ 1478938 h 633"/>
                <a:gd name="T24" fmla="*/ 1637352 w 761"/>
                <a:gd name="T25" fmla="*/ 1294710 h 633"/>
                <a:gd name="T26" fmla="*/ 1502867 w 761"/>
                <a:gd name="T27" fmla="*/ 1385118 h 633"/>
                <a:gd name="T28" fmla="*/ 1402003 w 761"/>
                <a:gd name="T29" fmla="*/ 1429469 h 633"/>
                <a:gd name="T30" fmla="*/ 1235578 w 761"/>
                <a:gd name="T31" fmla="*/ 1524995 h 633"/>
                <a:gd name="T32" fmla="*/ 1134715 w 761"/>
                <a:gd name="T33" fmla="*/ 1794513 h 633"/>
                <a:gd name="T34" fmla="*/ 1040576 w 761"/>
                <a:gd name="T35" fmla="*/ 1794513 h 633"/>
                <a:gd name="T36" fmla="*/ 902729 w 761"/>
                <a:gd name="T37" fmla="*/ 1772337 h 633"/>
                <a:gd name="T38" fmla="*/ 837167 w 761"/>
                <a:gd name="T39" fmla="*/ 1637578 h 633"/>
                <a:gd name="T40" fmla="*/ 605181 w 761"/>
                <a:gd name="T41" fmla="*/ 1407294 h 633"/>
                <a:gd name="T42" fmla="*/ 536258 w 761"/>
                <a:gd name="T43" fmla="*/ 1364648 h 633"/>
                <a:gd name="T44" fmla="*/ 435394 w 761"/>
                <a:gd name="T45" fmla="*/ 1206008 h 633"/>
                <a:gd name="T46" fmla="*/ 334531 w 761"/>
                <a:gd name="T47" fmla="*/ 1318591 h 633"/>
                <a:gd name="T48" fmla="*/ 300910 w 761"/>
                <a:gd name="T49" fmla="*/ 706206 h 633"/>
                <a:gd name="T50" fmla="*/ 300910 w 761"/>
                <a:gd name="T51" fmla="*/ 612386 h 633"/>
                <a:gd name="T52" fmla="*/ 169787 w 761"/>
                <a:gd name="T53" fmla="*/ 387219 h 633"/>
                <a:gd name="T54" fmla="*/ 0 w 761"/>
                <a:gd name="T55" fmla="*/ 295105 h 633"/>
                <a:gd name="T56" fmla="*/ 33621 w 761"/>
                <a:gd name="T57" fmla="*/ 180816 h 633"/>
                <a:gd name="T58" fmla="*/ 68923 w 761"/>
                <a:gd name="T59" fmla="*/ 90408 h 633"/>
                <a:gd name="T60" fmla="*/ 132804 w 761"/>
                <a:gd name="T61" fmla="*/ 0 h 633"/>
                <a:gd name="T62" fmla="*/ 265607 w 761"/>
                <a:gd name="T63" fmla="*/ 46057 h 633"/>
                <a:gd name="T64" fmla="*/ 366471 w 761"/>
                <a:gd name="T65" fmla="*/ 230284 h 633"/>
                <a:gd name="T66" fmla="*/ 536258 w 761"/>
                <a:gd name="T67" fmla="*/ 341162 h 633"/>
                <a:gd name="T68" fmla="*/ 633759 w 761"/>
                <a:gd name="T69" fmla="*/ 295105 h 633"/>
                <a:gd name="T70" fmla="*/ 736304 w 761"/>
                <a:gd name="T71" fmla="*/ 365043 h 633"/>
                <a:gd name="T72" fmla="*/ 938031 w 761"/>
                <a:gd name="T73" fmla="*/ 271224 h 633"/>
                <a:gd name="T74" fmla="*/ 1203638 w 761"/>
                <a:gd name="T75" fmla="*/ 271224 h 633"/>
                <a:gd name="T76" fmla="*/ 1235578 w 761"/>
                <a:gd name="T77" fmla="*/ 112583 h 633"/>
                <a:gd name="T78" fmla="*/ 1336442 w 761"/>
                <a:gd name="T79" fmla="*/ 90408 h 633"/>
                <a:gd name="T80" fmla="*/ 1437306 w 761"/>
                <a:gd name="T81" fmla="*/ 136465 h 633"/>
                <a:gd name="T82" fmla="*/ 1672654 w 761"/>
                <a:gd name="T83" fmla="*/ 208109 h 633"/>
                <a:gd name="T84" fmla="*/ 1739896 w 761"/>
                <a:gd name="T85" fmla="*/ 387219 h 633"/>
                <a:gd name="T86" fmla="*/ 1971882 w 761"/>
                <a:gd name="T87" fmla="*/ 453746 h 633"/>
                <a:gd name="T88" fmla="*/ 2139988 w 761"/>
                <a:gd name="T89" fmla="*/ 387219 h 633"/>
                <a:gd name="T90" fmla="*/ 2304732 w 761"/>
                <a:gd name="T91" fmla="*/ 407689 h 633"/>
                <a:gd name="T92" fmla="*/ 2612366 w 761"/>
                <a:gd name="T93" fmla="*/ 523684 h 633"/>
                <a:gd name="T94" fmla="*/ 2945216 w 761"/>
                <a:gd name="T95" fmla="*/ 637973 h 633"/>
                <a:gd name="T96" fmla="*/ 3177202 w 761"/>
                <a:gd name="T97" fmla="*/ 728381 h 633"/>
                <a:gd name="T98" fmla="*/ 3109959 w 761"/>
                <a:gd name="T99" fmla="*/ 840965 h 633"/>
                <a:gd name="T100" fmla="*/ 2775429 w 761"/>
                <a:gd name="T101" fmla="*/ 887021 h 633"/>
                <a:gd name="T102" fmla="*/ 2704824 w 761"/>
                <a:gd name="T103" fmla="*/ 953548 h 633"/>
                <a:gd name="T104" fmla="*/ 2740126 w 761"/>
                <a:gd name="T105" fmla="*/ 1023486 h 633"/>
                <a:gd name="T106" fmla="*/ 2740126 w 761"/>
                <a:gd name="T107" fmla="*/ 1069543 h 633"/>
                <a:gd name="T108" fmla="*/ 2945216 w 761"/>
                <a:gd name="T109" fmla="*/ 1294710 h 6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61"/>
                <a:gd name="T166" fmla="*/ 0 h 633"/>
                <a:gd name="T167" fmla="*/ 761 w 761"/>
                <a:gd name="T168" fmla="*/ 633 h 6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61" h="633">
                  <a:moveTo>
                    <a:pt x="696" y="480"/>
                  </a:moveTo>
                  <a:lnTo>
                    <a:pt x="696" y="488"/>
                  </a:lnTo>
                  <a:lnTo>
                    <a:pt x="688" y="504"/>
                  </a:lnTo>
                  <a:lnTo>
                    <a:pt x="672" y="504"/>
                  </a:lnTo>
                  <a:lnTo>
                    <a:pt x="664" y="488"/>
                  </a:lnTo>
                  <a:lnTo>
                    <a:pt x="656" y="488"/>
                  </a:lnTo>
                  <a:lnTo>
                    <a:pt x="632" y="432"/>
                  </a:lnTo>
                  <a:lnTo>
                    <a:pt x="608" y="432"/>
                  </a:lnTo>
                  <a:lnTo>
                    <a:pt x="592" y="416"/>
                  </a:lnTo>
                  <a:lnTo>
                    <a:pt x="584" y="424"/>
                  </a:lnTo>
                  <a:lnTo>
                    <a:pt x="576" y="456"/>
                  </a:lnTo>
                  <a:lnTo>
                    <a:pt x="552" y="440"/>
                  </a:lnTo>
                  <a:lnTo>
                    <a:pt x="552" y="464"/>
                  </a:lnTo>
                  <a:lnTo>
                    <a:pt x="536" y="472"/>
                  </a:lnTo>
                  <a:lnTo>
                    <a:pt x="528" y="464"/>
                  </a:lnTo>
                  <a:lnTo>
                    <a:pt x="512" y="464"/>
                  </a:lnTo>
                  <a:lnTo>
                    <a:pt x="488" y="456"/>
                  </a:lnTo>
                  <a:lnTo>
                    <a:pt x="472" y="472"/>
                  </a:lnTo>
                  <a:lnTo>
                    <a:pt x="480" y="496"/>
                  </a:lnTo>
                  <a:lnTo>
                    <a:pt x="504" y="496"/>
                  </a:lnTo>
                  <a:lnTo>
                    <a:pt x="512" y="528"/>
                  </a:lnTo>
                  <a:lnTo>
                    <a:pt x="456" y="528"/>
                  </a:lnTo>
                  <a:lnTo>
                    <a:pt x="440" y="504"/>
                  </a:lnTo>
                  <a:lnTo>
                    <a:pt x="416" y="520"/>
                  </a:lnTo>
                  <a:lnTo>
                    <a:pt x="392" y="504"/>
                  </a:lnTo>
                  <a:lnTo>
                    <a:pt x="392" y="456"/>
                  </a:lnTo>
                  <a:lnTo>
                    <a:pt x="360" y="456"/>
                  </a:lnTo>
                  <a:lnTo>
                    <a:pt x="360" y="488"/>
                  </a:lnTo>
                  <a:lnTo>
                    <a:pt x="336" y="496"/>
                  </a:lnTo>
                  <a:lnTo>
                    <a:pt x="336" y="504"/>
                  </a:lnTo>
                  <a:lnTo>
                    <a:pt x="312" y="536"/>
                  </a:lnTo>
                  <a:lnTo>
                    <a:pt x="296" y="536"/>
                  </a:lnTo>
                  <a:lnTo>
                    <a:pt x="296" y="632"/>
                  </a:lnTo>
                  <a:lnTo>
                    <a:pt x="272" y="632"/>
                  </a:lnTo>
                  <a:lnTo>
                    <a:pt x="264" y="616"/>
                  </a:lnTo>
                  <a:lnTo>
                    <a:pt x="248" y="632"/>
                  </a:lnTo>
                  <a:lnTo>
                    <a:pt x="216" y="632"/>
                  </a:lnTo>
                  <a:lnTo>
                    <a:pt x="216" y="624"/>
                  </a:lnTo>
                  <a:lnTo>
                    <a:pt x="200" y="616"/>
                  </a:lnTo>
                  <a:lnTo>
                    <a:pt x="200" y="576"/>
                  </a:lnTo>
                  <a:lnTo>
                    <a:pt x="160" y="496"/>
                  </a:lnTo>
                  <a:lnTo>
                    <a:pt x="144" y="496"/>
                  </a:lnTo>
                  <a:lnTo>
                    <a:pt x="144" y="504"/>
                  </a:lnTo>
                  <a:lnTo>
                    <a:pt x="128" y="480"/>
                  </a:lnTo>
                  <a:lnTo>
                    <a:pt x="136" y="472"/>
                  </a:lnTo>
                  <a:lnTo>
                    <a:pt x="104" y="424"/>
                  </a:lnTo>
                  <a:lnTo>
                    <a:pt x="88" y="432"/>
                  </a:lnTo>
                  <a:lnTo>
                    <a:pt x="80" y="464"/>
                  </a:lnTo>
                  <a:lnTo>
                    <a:pt x="64" y="472"/>
                  </a:lnTo>
                  <a:lnTo>
                    <a:pt x="72" y="248"/>
                  </a:lnTo>
                  <a:lnTo>
                    <a:pt x="56" y="224"/>
                  </a:lnTo>
                  <a:lnTo>
                    <a:pt x="72" y="216"/>
                  </a:lnTo>
                  <a:lnTo>
                    <a:pt x="40" y="160"/>
                  </a:lnTo>
                  <a:lnTo>
                    <a:pt x="40" y="136"/>
                  </a:lnTo>
                  <a:lnTo>
                    <a:pt x="16" y="112"/>
                  </a:lnTo>
                  <a:lnTo>
                    <a:pt x="0" y="104"/>
                  </a:lnTo>
                  <a:lnTo>
                    <a:pt x="0" y="96"/>
                  </a:lnTo>
                  <a:lnTo>
                    <a:pt x="8" y="64"/>
                  </a:lnTo>
                  <a:lnTo>
                    <a:pt x="24" y="48"/>
                  </a:lnTo>
                  <a:lnTo>
                    <a:pt x="16" y="32"/>
                  </a:lnTo>
                  <a:lnTo>
                    <a:pt x="16" y="0"/>
                  </a:lnTo>
                  <a:lnTo>
                    <a:pt x="32" y="0"/>
                  </a:lnTo>
                  <a:lnTo>
                    <a:pt x="40" y="16"/>
                  </a:lnTo>
                  <a:lnTo>
                    <a:pt x="64" y="16"/>
                  </a:lnTo>
                  <a:lnTo>
                    <a:pt x="88" y="40"/>
                  </a:lnTo>
                  <a:lnTo>
                    <a:pt x="88" y="80"/>
                  </a:lnTo>
                  <a:lnTo>
                    <a:pt x="104" y="80"/>
                  </a:lnTo>
                  <a:lnTo>
                    <a:pt x="128" y="120"/>
                  </a:lnTo>
                  <a:lnTo>
                    <a:pt x="152" y="112"/>
                  </a:lnTo>
                  <a:lnTo>
                    <a:pt x="152" y="104"/>
                  </a:lnTo>
                  <a:lnTo>
                    <a:pt x="160" y="112"/>
                  </a:lnTo>
                  <a:lnTo>
                    <a:pt x="176" y="128"/>
                  </a:lnTo>
                  <a:lnTo>
                    <a:pt x="216" y="128"/>
                  </a:lnTo>
                  <a:lnTo>
                    <a:pt x="224" y="96"/>
                  </a:lnTo>
                  <a:lnTo>
                    <a:pt x="256" y="88"/>
                  </a:lnTo>
                  <a:lnTo>
                    <a:pt x="288" y="96"/>
                  </a:lnTo>
                  <a:lnTo>
                    <a:pt x="304" y="72"/>
                  </a:lnTo>
                  <a:lnTo>
                    <a:pt x="296" y="40"/>
                  </a:lnTo>
                  <a:lnTo>
                    <a:pt x="296" y="32"/>
                  </a:lnTo>
                  <a:lnTo>
                    <a:pt x="320" y="32"/>
                  </a:lnTo>
                  <a:lnTo>
                    <a:pt x="336" y="24"/>
                  </a:lnTo>
                  <a:lnTo>
                    <a:pt x="344" y="48"/>
                  </a:lnTo>
                  <a:lnTo>
                    <a:pt x="384" y="72"/>
                  </a:lnTo>
                  <a:lnTo>
                    <a:pt x="400" y="72"/>
                  </a:lnTo>
                  <a:lnTo>
                    <a:pt x="400" y="88"/>
                  </a:lnTo>
                  <a:lnTo>
                    <a:pt x="416" y="136"/>
                  </a:lnTo>
                  <a:lnTo>
                    <a:pt x="432" y="152"/>
                  </a:lnTo>
                  <a:lnTo>
                    <a:pt x="472" y="160"/>
                  </a:lnTo>
                  <a:lnTo>
                    <a:pt x="496" y="128"/>
                  </a:lnTo>
                  <a:lnTo>
                    <a:pt x="512" y="136"/>
                  </a:lnTo>
                  <a:lnTo>
                    <a:pt x="520" y="152"/>
                  </a:lnTo>
                  <a:lnTo>
                    <a:pt x="552" y="144"/>
                  </a:lnTo>
                  <a:lnTo>
                    <a:pt x="592" y="176"/>
                  </a:lnTo>
                  <a:lnTo>
                    <a:pt x="624" y="184"/>
                  </a:lnTo>
                  <a:lnTo>
                    <a:pt x="656" y="192"/>
                  </a:lnTo>
                  <a:lnTo>
                    <a:pt x="704" y="224"/>
                  </a:lnTo>
                  <a:lnTo>
                    <a:pt x="728" y="232"/>
                  </a:lnTo>
                  <a:lnTo>
                    <a:pt x="760" y="256"/>
                  </a:lnTo>
                  <a:lnTo>
                    <a:pt x="760" y="296"/>
                  </a:lnTo>
                  <a:lnTo>
                    <a:pt x="744" y="296"/>
                  </a:lnTo>
                  <a:lnTo>
                    <a:pt x="712" y="312"/>
                  </a:lnTo>
                  <a:lnTo>
                    <a:pt x="664" y="312"/>
                  </a:lnTo>
                  <a:lnTo>
                    <a:pt x="648" y="328"/>
                  </a:lnTo>
                  <a:lnTo>
                    <a:pt x="648" y="336"/>
                  </a:lnTo>
                  <a:lnTo>
                    <a:pt x="656" y="352"/>
                  </a:lnTo>
                  <a:lnTo>
                    <a:pt x="656" y="360"/>
                  </a:lnTo>
                  <a:lnTo>
                    <a:pt x="648" y="376"/>
                  </a:lnTo>
                  <a:lnTo>
                    <a:pt x="656" y="376"/>
                  </a:lnTo>
                  <a:lnTo>
                    <a:pt x="696" y="424"/>
                  </a:lnTo>
                  <a:lnTo>
                    <a:pt x="704" y="456"/>
                  </a:lnTo>
                  <a:lnTo>
                    <a:pt x="696" y="480"/>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0" name="Freeform 22"/>
            <p:cNvSpPr/>
            <p:nvPr/>
          </p:nvSpPr>
          <p:spPr bwMode="auto">
            <a:xfrm>
              <a:off x="1333933" y="1794495"/>
              <a:ext cx="1321322" cy="1053592"/>
            </a:xfrm>
            <a:custGeom>
              <a:avLst/>
              <a:gdLst>
                <a:gd name="T0" fmla="*/ 2826114 w 785"/>
                <a:gd name="T1" fmla="*/ 1533429 h 617"/>
                <a:gd name="T2" fmla="*/ 2593831 w 785"/>
                <a:gd name="T3" fmla="*/ 1623932 h 617"/>
                <a:gd name="T4" fmla="*/ 2492838 w 785"/>
                <a:gd name="T5" fmla="*/ 1553920 h 617"/>
                <a:gd name="T6" fmla="*/ 2390162 w 785"/>
                <a:gd name="T7" fmla="*/ 1601733 h 617"/>
                <a:gd name="T8" fmla="*/ 2221841 w 785"/>
                <a:gd name="T9" fmla="*/ 1485616 h 617"/>
                <a:gd name="T10" fmla="*/ 2120848 w 785"/>
                <a:gd name="T11" fmla="*/ 1306317 h 617"/>
                <a:gd name="T12" fmla="*/ 1987874 w 785"/>
                <a:gd name="T13" fmla="*/ 1258505 h 617"/>
                <a:gd name="T14" fmla="*/ 1918863 w 785"/>
                <a:gd name="T15" fmla="*/ 1306317 h 617"/>
                <a:gd name="T16" fmla="*/ 1952527 w 785"/>
                <a:gd name="T17" fmla="*/ 1372914 h 617"/>
                <a:gd name="T18" fmla="*/ 1854900 w 785"/>
                <a:gd name="T19" fmla="*/ 1533429 h 617"/>
                <a:gd name="T20" fmla="*/ 1918863 w 785"/>
                <a:gd name="T21" fmla="*/ 1579534 h 617"/>
                <a:gd name="T22" fmla="*/ 1784206 w 785"/>
                <a:gd name="T23" fmla="*/ 1668330 h 617"/>
                <a:gd name="T24" fmla="*/ 1686579 w 785"/>
                <a:gd name="T25" fmla="*/ 1714435 h 617"/>
                <a:gd name="T26" fmla="*/ 1583903 w 785"/>
                <a:gd name="T27" fmla="*/ 1692236 h 617"/>
                <a:gd name="T28" fmla="*/ 1548556 w 785"/>
                <a:gd name="T29" fmla="*/ 1738341 h 617"/>
                <a:gd name="T30" fmla="*/ 1415582 w 785"/>
                <a:gd name="T31" fmla="*/ 1714435 h 617"/>
                <a:gd name="T32" fmla="*/ 1346570 w 785"/>
                <a:gd name="T33" fmla="*/ 1623932 h 617"/>
                <a:gd name="T34" fmla="*/ 976263 w 785"/>
                <a:gd name="T35" fmla="*/ 1533429 h 617"/>
                <a:gd name="T36" fmla="*/ 570609 w 785"/>
                <a:gd name="T37" fmla="*/ 1417312 h 617"/>
                <a:gd name="T38" fmla="*/ 170004 w 785"/>
                <a:gd name="T39" fmla="*/ 1258505 h 617"/>
                <a:gd name="T40" fmla="*/ 0 w 785"/>
                <a:gd name="T41" fmla="*/ 1050177 h 617"/>
                <a:gd name="T42" fmla="*/ 69012 w 785"/>
                <a:gd name="T43" fmla="*/ 870878 h 617"/>
                <a:gd name="T44" fmla="*/ 132974 w 785"/>
                <a:gd name="T45" fmla="*/ 710363 h 617"/>
                <a:gd name="T46" fmla="*/ 33664 w 785"/>
                <a:gd name="T47" fmla="*/ 616445 h 617"/>
                <a:gd name="T48" fmla="*/ 203669 w 785"/>
                <a:gd name="T49" fmla="*/ 595954 h 617"/>
                <a:gd name="T50" fmla="*/ 435952 w 785"/>
                <a:gd name="T51" fmla="*/ 640352 h 617"/>
                <a:gd name="T52" fmla="*/ 402288 w 785"/>
                <a:gd name="T53" fmla="*/ 525942 h 617"/>
                <a:gd name="T54" fmla="*/ 540311 w 785"/>
                <a:gd name="T55" fmla="*/ 387626 h 617"/>
                <a:gd name="T56" fmla="*/ 371990 w 785"/>
                <a:gd name="T57" fmla="*/ 208328 h 617"/>
                <a:gd name="T58" fmla="*/ 641304 w 785"/>
                <a:gd name="T59" fmla="*/ 46105 h 617"/>
                <a:gd name="T60" fmla="*/ 1215280 w 785"/>
                <a:gd name="T61" fmla="*/ 0 h 617"/>
                <a:gd name="T62" fmla="*/ 1617567 w 785"/>
                <a:gd name="T63" fmla="*/ 114410 h 617"/>
                <a:gd name="T64" fmla="*/ 1918863 w 785"/>
                <a:gd name="T65" fmla="*/ 295416 h 617"/>
                <a:gd name="T66" fmla="*/ 1987874 w 785"/>
                <a:gd name="T67" fmla="*/ 136608 h 617"/>
                <a:gd name="T68" fmla="*/ 2221841 w 785"/>
                <a:gd name="T69" fmla="*/ 208328 h 617"/>
                <a:gd name="T70" fmla="*/ 2492838 w 785"/>
                <a:gd name="T71" fmla="*/ 274924 h 617"/>
                <a:gd name="T72" fmla="*/ 2763835 w 785"/>
                <a:gd name="T73" fmla="*/ 343229 h 617"/>
                <a:gd name="T74" fmla="*/ 3066814 w 785"/>
                <a:gd name="T75" fmla="*/ 502036 h 617"/>
                <a:gd name="T76" fmla="*/ 3235135 w 785"/>
                <a:gd name="T77" fmla="*/ 662551 h 617"/>
                <a:gd name="T78" fmla="*/ 3304147 w 785"/>
                <a:gd name="T79" fmla="*/ 959674 h 617"/>
                <a:gd name="T80" fmla="*/ 3164440 w 785"/>
                <a:gd name="T81" fmla="*/ 1027978 h 617"/>
                <a:gd name="T82" fmla="*/ 2996119 w 785"/>
                <a:gd name="T83" fmla="*/ 1164586 h 617"/>
                <a:gd name="T84" fmla="*/ 3100478 w 785"/>
                <a:gd name="T85" fmla="*/ 1236306 h 617"/>
                <a:gd name="T86" fmla="*/ 2964138 w 785"/>
                <a:gd name="T87" fmla="*/ 1306317 h 617"/>
                <a:gd name="T88" fmla="*/ 2763835 w 785"/>
                <a:gd name="T89" fmla="*/ 1282411 h 617"/>
                <a:gd name="T90" fmla="*/ 2799183 w 785"/>
                <a:gd name="T91" fmla="*/ 1395113 h 617"/>
                <a:gd name="T92" fmla="*/ 2996119 w 785"/>
                <a:gd name="T93" fmla="*/ 1442926 h 6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85"/>
                <a:gd name="T142" fmla="*/ 0 h 617"/>
                <a:gd name="T143" fmla="*/ 785 w 785"/>
                <a:gd name="T144" fmla="*/ 617 h 6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85" h="617">
                  <a:moveTo>
                    <a:pt x="704" y="528"/>
                  </a:moveTo>
                  <a:lnTo>
                    <a:pt x="672" y="536"/>
                  </a:lnTo>
                  <a:lnTo>
                    <a:pt x="656" y="568"/>
                  </a:lnTo>
                  <a:lnTo>
                    <a:pt x="616" y="568"/>
                  </a:lnTo>
                  <a:lnTo>
                    <a:pt x="608" y="552"/>
                  </a:lnTo>
                  <a:lnTo>
                    <a:pt x="592" y="544"/>
                  </a:lnTo>
                  <a:lnTo>
                    <a:pt x="592" y="552"/>
                  </a:lnTo>
                  <a:lnTo>
                    <a:pt x="568" y="560"/>
                  </a:lnTo>
                  <a:lnTo>
                    <a:pt x="544" y="520"/>
                  </a:lnTo>
                  <a:lnTo>
                    <a:pt x="528" y="520"/>
                  </a:lnTo>
                  <a:lnTo>
                    <a:pt x="528" y="480"/>
                  </a:lnTo>
                  <a:lnTo>
                    <a:pt x="504" y="456"/>
                  </a:lnTo>
                  <a:lnTo>
                    <a:pt x="488" y="456"/>
                  </a:lnTo>
                  <a:lnTo>
                    <a:pt x="472" y="440"/>
                  </a:lnTo>
                  <a:lnTo>
                    <a:pt x="456" y="440"/>
                  </a:lnTo>
                  <a:lnTo>
                    <a:pt x="456" y="456"/>
                  </a:lnTo>
                  <a:lnTo>
                    <a:pt x="456" y="472"/>
                  </a:lnTo>
                  <a:lnTo>
                    <a:pt x="464" y="480"/>
                  </a:lnTo>
                  <a:lnTo>
                    <a:pt x="448" y="496"/>
                  </a:lnTo>
                  <a:lnTo>
                    <a:pt x="440" y="536"/>
                  </a:lnTo>
                  <a:lnTo>
                    <a:pt x="448" y="552"/>
                  </a:lnTo>
                  <a:lnTo>
                    <a:pt x="456" y="552"/>
                  </a:lnTo>
                  <a:lnTo>
                    <a:pt x="440" y="560"/>
                  </a:lnTo>
                  <a:lnTo>
                    <a:pt x="424" y="584"/>
                  </a:lnTo>
                  <a:lnTo>
                    <a:pt x="400" y="584"/>
                  </a:lnTo>
                  <a:lnTo>
                    <a:pt x="400" y="600"/>
                  </a:lnTo>
                  <a:lnTo>
                    <a:pt x="384" y="608"/>
                  </a:lnTo>
                  <a:lnTo>
                    <a:pt x="376" y="592"/>
                  </a:lnTo>
                  <a:lnTo>
                    <a:pt x="360" y="592"/>
                  </a:lnTo>
                  <a:lnTo>
                    <a:pt x="368" y="608"/>
                  </a:lnTo>
                  <a:lnTo>
                    <a:pt x="352" y="616"/>
                  </a:lnTo>
                  <a:lnTo>
                    <a:pt x="336" y="600"/>
                  </a:lnTo>
                  <a:lnTo>
                    <a:pt x="312" y="600"/>
                  </a:lnTo>
                  <a:lnTo>
                    <a:pt x="320" y="568"/>
                  </a:lnTo>
                  <a:lnTo>
                    <a:pt x="264" y="520"/>
                  </a:lnTo>
                  <a:lnTo>
                    <a:pt x="232" y="536"/>
                  </a:lnTo>
                  <a:lnTo>
                    <a:pt x="168" y="496"/>
                  </a:lnTo>
                  <a:lnTo>
                    <a:pt x="136" y="496"/>
                  </a:lnTo>
                  <a:lnTo>
                    <a:pt x="88" y="440"/>
                  </a:lnTo>
                  <a:lnTo>
                    <a:pt x="40" y="440"/>
                  </a:lnTo>
                  <a:lnTo>
                    <a:pt x="16" y="416"/>
                  </a:lnTo>
                  <a:lnTo>
                    <a:pt x="0" y="368"/>
                  </a:lnTo>
                  <a:lnTo>
                    <a:pt x="8" y="352"/>
                  </a:lnTo>
                  <a:lnTo>
                    <a:pt x="16" y="304"/>
                  </a:lnTo>
                  <a:lnTo>
                    <a:pt x="8" y="280"/>
                  </a:lnTo>
                  <a:lnTo>
                    <a:pt x="32" y="248"/>
                  </a:lnTo>
                  <a:lnTo>
                    <a:pt x="32" y="224"/>
                  </a:lnTo>
                  <a:lnTo>
                    <a:pt x="8" y="216"/>
                  </a:lnTo>
                  <a:lnTo>
                    <a:pt x="16" y="208"/>
                  </a:lnTo>
                  <a:lnTo>
                    <a:pt x="48" y="208"/>
                  </a:lnTo>
                  <a:lnTo>
                    <a:pt x="56" y="200"/>
                  </a:lnTo>
                  <a:lnTo>
                    <a:pt x="104" y="224"/>
                  </a:lnTo>
                  <a:lnTo>
                    <a:pt x="104" y="192"/>
                  </a:lnTo>
                  <a:lnTo>
                    <a:pt x="96" y="184"/>
                  </a:lnTo>
                  <a:lnTo>
                    <a:pt x="96" y="160"/>
                  </a:lnTo>
                  <a:lnTo>
                    <a:pt x="128" y="136"/>
                  </a:lnTo>
                  <a:lnTo>
                    <a:pt x="120" y="112"/>
                  </a:lnTo>
                  <a:lnTo>
                    <a:pt x="88" y="72"/>
                  </a:lnTo>
                  <a:lnTo>
                    <a:pt x="96" y="32"/>
                  </a:lnTo>
                  <a:lnTo>
                    <a:pt x="152" y="16"/>
                  </a:lnTo>
                  <a:lnTo>
                    <a:pt x="256" y="8"/>
                  </a:lnTo>
                  <a:lnTo>
                    <a:pt x="288" y="0"/>
                  </a:lnTo>
                  <a:lnTo>
                    <a:pt x="344" y="24"/>
                  </a:lnTo>
                  <a:lnTo>
                    <a:pt x="384" y="40"/>
                  </a:lnTo>
                  <a:lnTo>
                    <a:pt x="424" y="64"/>
                  </a:lnTo>
                  <a:lnTo>
                    <a:pt x="456" y="104"/>
                  </a:lnTo>
                  <a:lnTo>
                    <a:pt x="472" y="56"/>
                  </a:lnTo>
                  <a:lnTo>
                    <a:pt x="472" y="48"/>
                  </a:lnTo>
                  <a:lnTo>
                    <a:pt x="504" y="64"/>
                  </a:lnTo>
                  <a:lnTo>
                    <a:pt x="528" y="72"/>
                  </a:lnTo>
                  <a:lnTo>
                    <a:pt x="584" y="64"/>
                  </a:lnTo>
                  <a:lnTo>
                    <a:pt x="592" y="96"/>
                  </a:lnTo>
                  <a:lnTo>
                    <a:pt x="640" y="128"/>
                  </a:lnTo>
                  <a:lnTo>
                    <a:pt x="656" y="120"/>
                  </a:lnTo>
                  <a:lnTo>
                    <a:pt x="728" y="192"/>
                  </a:lnTo>
                  <a:lnTo>
                    <a:pt x="728" y="176"/>
                  </a:lnTo>
                  <a:lnTo>
                    <a:pt x="760" y="208"/>
                  </a:lnTo>
                  <a:lnTo>
                    <a:pt x="768" y="232"/>
                  </a:lnTo>
                  <a:lnTo>
                    <a:pt x="776" y="288"/>
                  </a:lnTo>
                  <a:lnTo>
                    <a:pt x="784" y="336"/>
                  </a:lnTo>
                  <a:lnTo>
                    <a:pt x="776" y="360"/>
                  </a:lnTo>
                  <a:lnTo>
                    <a:pt x="752" y="360"/>
                  </a:lnTo>
                  <a:lnTo>
                    <a:pt x="744" y="392"/>
                  </a:lnTo>
                  <a:lnTo>
                    <a:pt x="712" y="408"/>
                  </a:lnTo>
                  <a:lnTo>
                    <a:pt x="712" y="424"/>
                  </a:lnTo>
                  <a:lnTo>
                    <a:pt x="736" y="432"/>
                  </a:lnTo>
                  <a:lnTo>
                    <a:pt x="728" y="440"/>
                  </a:lnTo>
                  <a:lnTo>
                    <a:pt x="704" y="456"/>
                  </a:lnTo>
                  <a:lnTo>
                    <a:pt x="672" y="448"/>
                  </a:lnTo>
                  <a:lnTo>
                    <a:pt x="656" y="448"/>
                  </a:lnTo>
                  <a:lnTo>
                    <a:pt x="648" y="464"/>
                  </a:lnTo>
                  <a:lnTo>
                    <a:pt x="664" y="488"/>
                  </a:lnTo>
                  <a:lnTo>
                    <a:pt x="696" y="496"/>
                  </a:lnTo>
                  <a:lnTo>
                    <a:pt x="712" y="504"/>
                  </a:lnTo>
                  <a:lnTo>
                    <a:pt x="704" y="528"/>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1" name="Freeform 23"/>
            <p:cNvSpPr/>
            <p:nvPr/>
          </p:nvSpPr>
          <p:spPr bwMode="auto">
            <a:xfrm>
              <a:off x="3729967" y="3131509"/>
              <a:ext cx="514237" cy="728580"/>
            </a:xfrm>
            <a:custGeom>
              <a:avLst/>
              <a:gdLst>
                <a:gd name="T0" fmla="*/ 1154926 w 305"/>
                <a:gd name="T1" fmla="*/ 118287 h 425"/>
                <a:gd name="T2" fmla="*/ 1193704 w 305"/>
                <a:gd name="T3" fmla="*/ 209145 h 425"/>
                <a:gd name="T4" fmla="*/ 1291494 w 305"/>
                <a:gd name="T5" fmla="*/ 257146 h 425"/>
                <a:gd name="T6" fmla="*/ 1291494 w 305"/>
                <a:gd name="T7" fmla="*/ 396005 h 425"/>
                <a:gd name="T8" fmla="*/ 1154926 w 305"/>
                <a:gd name="T9" fmla="*/ 444005 h 425"/>
                <a:gd name="T10" fmla="*/ 1154926 w 305"/>
                <a:gd name="T11" fmla="*/ 468006 h 425"/>
                <a:gd name="T12" fmla="*/ 1021730 w 305"/>
                <a:gd name="T13" fmla="*/ 468006 h 425"/>
                <a:gd name="T14" fmla="*/ 954289 w 305"/>
                <a:gd name="T15" fmla="*/ 514292 h 425"/>
                <a:gd name="T16" fmla="*/ 954289 w 305"/>
                <a:gd name="T17" fmla="*/ 586293 h 425"/>
                <a:gd name="T18" fmla="*/ 986323 w 305"/>
                <a:gd name="T19" fmla="*/ 606864 h 425"/>
                <a:gd name="T20" fmla="*/ 885162 w 305"/>
                <a:gd name="T21" fmla="*/ 702865 h 425"/>
                <a:gd name="T22" fmla="*/ 817721 w 305"/>
                <a:gd name="T23" fmla="*/ 702865 h 425"/>
                <a:gd name="T24" fmla="*/ 817721 w 305"/>
                <a:gd name="T25" fmla="*/ 795438 h 425"/>
                <a:gd name="T26" fmla="*/ 817721 w 305"/>
                <a:gd name="T27" fmla="*/ 821153 h 425"/>
                <a:gd name="T28" fmla="*/ 817721 w 305"/>
                <a:gd name="T29" fmla="*/ 888010 h 425"/>
                <a:gd name="T30" fmla="*/ 748594 w 305"/>
                <a:gd name="T31" fmla="*/ 936011 h 425"/>
                <a:gd name="T32" fmla="*/ 711502 w 305"/>
                <a:gd name="T33" fmla="*/ 1052584 h 425"/>
                <a:gd name="T34" fmla="*/ 681153 w 305"/>
                <a:gd name="T35" fmla="*/ 1124585 h 425"/>
                <a:gd name="T36" fmla="*/ 681153 w 305"/>
                <a:gd name="T37" fmla="*/ 1146871 h 425"/>
                <a:gd name="T38" fmla="*/ 647433 w 305"/>
                <a:gd name="T39" fmla="*/ 1217157 h 425"/>
                <a:gd name="T40" fmla="*/ 578306 w 305"/>
                <a:gd name="T41" fmla="*/ 1217157 h 425"/>
                <a:gd name="T42" fmla="*/ 542899 w 305"/>
                <a:gd name="T43" fmla="*/ 1193157 h 425"/>
                <a:gd name="T44" fmla="*/ 273136 w 305"/>
                <a:gd name="T45" fmla="*/ 1239443 h 425"/>
                <a:gd name="T46" fmla="*/ 237729 w 305"/>
                <a:gd name="T47" fmla="*/ 1217157 h 425"/>
                <a:gd name="T48" fmla="*/ 340577 w 305"/>
                <a:gd name="T49" fmla="*/ 1078298 h 425"/>
                <a:gd name="T50" fmla="*/ 237729 w 305"/>
                <a:gd name="T51" fmla="*/ 1052584 h 425"/>
                <a:gd name="T52" fmla="*/ 170288 w 305"/>
                <a:gd name="T53" fmla="*/ 1078298 h 425"/>
                <a:gd name="T54" fmla="*/ 102847 w 305"/>
                <a:gd name="T55" fmla="*/ 1052584 h 425"/>
                <a:gd name="T56" fmla="*/ 102847 w 305"/>
                <a:gd name="T57" fmla="*/ 936011 h 425"/>
                <a:gd name="T58" fmla="*/ 170288 w 305"/>
                <a:gd name="T59" fmla="*/ 913725 h 425"/>
                <a:gd name="T60" fmla="*/ 205695 w 305"/>
                <a:gd name="T61" fmla="*/ 913725 h 425"/>
                <a:gd name="T62" fmla="*/ 205695 w 305"/>
                <a:gd name="T63" fmla="*/ 843438 h 425"/>
                <a:gd name="T64" fmla="*/ 139940 w 305"/>
                <a:gd name="T65" fmla="*/ 843438 h 425"/>
                <a:gd name="T66" fmla="*/ 139940 w 305"/>
                <a:gd name="T67" fmla="*/ 795438 h 425"/>
                <a:gd name="T68" fmla="*/ 69127 w 305"/>
                <a:gd name="T69" fmla="*/ 773152 h 425"/>
                <a:gd name="T70" fmla="*/ 69127 w 305"/>
                <a:gd name="T71" fmla="*/ 630865 h 425"/>
                <a:gd name="T72" fmla="*/ 0 w 305"/>
                <a:gd name="T73" fmla="*/ 586293 h 425"/>
                <a:gd name="T74" fmla="*/ 33720 w 305"/>
                <a:gd name="T75" fmla="*/ 514292 h 425"/>
                <a:gd name="T76" fmla="*/ 139940 w 305"/>
                <a:gd name="T77" fmla="*/ 444005 h 425"/>
                <a:gd name="T78" fmla="*/ 139940 w 305"/>
                <a:gd name="T79" fmla="*/ 373719 h 425"/>
                <a:gd name="T80" fmla="*/ 102847 w 305"/>
                <a:gd name="T81" fmla="*/ 353147 h 425"/>
                <a:gd name="T82" fmla="*/ 139940 w 305"/>
                <a:gd name="T83" fmla="*/ 305146 h 425"/>
                <a:gd name="T84" fmla="*/ 69127 w 305"/>
                <a:gd name="T85" fmla="*/ 233146 h 425"/>
                <a:gd name="T86" fmla="*/ 139940 w 305"/>
                <a:gd name="T87" fmla="*/ 186859 h 425"/>
                <a:gd name="T88" fmla="*/ 237729 w 305"/>
                <a:gd name="T89" fmla="*/ 164573 h 425"/>
                <a:gd name="T90" fmla="*/ 477144 w 305"/>
                <a:gd name="T91" fmla="*/ 70287 h 425"/>
                <a:gd name="T92" fmla="*/ 610340 w 305"/>
                <a:gd name="T93" fmla="*/ 22286 h 425"/>
                <a:gd name="T94" fmla="*/ 711502 w 305"/>
                <a:gd name="T95" fmla="*/ 22286 h 425"/>
                <a:gd name="T96" fmla="*/ 780629 w 305"/>
                <a:gd name="T97" fmla="*/ 0 h 425"/>
                <a:gd name="T98" fmla="*/ 817721 w 305"/>
                <a:gd name="T99" fmla="*/ 22286 h 425"/>
                <a:gd name="T100" fmla="*/ 780629 w 305"/>
                <a:gd name="T101" fmla="*/ 46286 h 425"/>
                <a:gd name="T102" fmla="*/ 780629 w 305"/>
                <a:gd name="T103" fmla="*/ 96001 h 425"/>
                <a:gd name="T104" fmla="*/ 885162 w 305"/>
                <a:gd name="T105" fmla="*/ 96001 h 425"/>
                <a:gd name="T106" fmla="*/ 885162 w 305"/>
                <a:gd name="T107" fmla="*/ 46286 h 425"/>
                <a:gd name="T108" fmla="*/ 920569 w 305"/>
                <a:gd name="T109" fmla="*/ 0 h 425"/>
                <a:gd name="T110" fmla="*/ 986323 w 305"/>
                <a:gd name="T111" fmla="*/ 46286 h 425"/>
                <a:gd name="T112" fmla="*/ 1021730 w 305"/>
                <a:gd name="T113" fmla="*/ 96001 h 425"/>
                <a:gd name="T114" fmla="*/ 1154926 w 305"/>
                <a:gd name="T115" fmla="*/ 96001 h 425"/>
                <a:gd name="T116" fmla="*/ 1154926 w 305"/>
                <a:gd name="T117" fmla="*/ 118287 h 42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05"/>
                <a:gd name="T178" fmla="*/ 0 h 425"/>
                <a:gd name="T179" fmla="*/ 305 w 305"/>
                <a:gd name="T180" fmla="*/ 425 h 42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05" h="425">
                  <a:moveTo>
                    <a:pt x="272" y="40"/>
                  </a:moveTo>
                  <a:lnTo>
                    <a:pt x="280" y="72"/>
                  </a:lnTo>
                  <a:lnTo>
                    <a:pt x="304" y="88"/>
                  </a:lnTo>
                  <a:lnTo>
                    <a:pt x="304" y="136"/>
                  </a:lnTo>
                  <a:lnTo>
                    <a:pt x="272" y="152"/>
                  </a:lnTo>
                  <a:lnTo>
                    <a:pt x="272" y="160"/>
                  </a:lnTo>
                  <a:lnTo>
                    <a:pt x="240" y="160"/>
                  </a:lnTo>
                  <a:lnTo>
                    <a:pt x="224" y="176"/>
                  </a:lnTo>
                  <a:lnTo>
                    <a:pt x="224" y="200"/>
                  </a:lnTo>
                  <a:lnTo>
                    <a:pt x="232" y="208"/>
                  </a:lnTo>
                  <a:lnTo>
                    <a:pt x="208" y="240"/>
                  </a:lnTo>
                  <a:lnTo>
                    <a:pt x="192" y="240"/>
                  </a:lnTo>
                  <a:lnTo>
                    <a:pt x="192" y="272"/>
                  </a:lnTo>
                  <a:lnTo>
                    <a:pt x="192" y="280"/>
                  </a:lnTo>
                  <a:lnTo>
                    <a:pt x="192" y="304"/>
                  </a:lnTo>
                  <a:lnTo>
                    <a:pt x="176" y="320"/>
                  </a:lnTo>
                  <a:lnTo>
                    <a:pt x="168" y="360"/>
                  </a:lnTo>
                  <a:lnTo>
                    <a:pt x="160" y="384"/>
                  </a:lnTo>
                  <a:lnTo>
                    <a:pt x="160" y="392"/>
                  </a:lnTo>
                  <a:lnTo>
                    <a:pt x="152" y="416"/>
                  </a:lnTo>
                  <a:lnTo>
                    <a:pt x="136" y="416"/>
                  </a:lnTo>
                  <a:lnTo>
                    <a:pt x="128" y="408"/>
                  </a:lnTo>
                  <a:lnTo>
                    <a:pt x="64" y="424"/>
                  </a:lnTo>
                  <a:lnTo>
                    <a:pt x="56" y="416"/>
                  </a:lnTo>
                  <a:lnTo>
                    <a:pt x="80" y="368"/>
                  </a:lnTo>
                  <a:lnTo>
                    <a:pt x="56" y="360"/>
                  </a:lnTo>
                  <a:lnTo>
                    <a:pt x="40" y="368"/>
                  </a:lnTo>
                  <a:lnTo>
                    <a:pt x="24" y="360"/>
                  </a:lnTo>
                  <a:lnTo>
                    <a:pt x="24" y="320"/>
                  </a:lnTo>
                  <a:lnTo>
                    <a:pt x="40" y="312"/>
                  </a:lnTo>
                  <a:lnTo>
                    <a:pt x="48" y="312"/>
                  </a:lnTo>
                  <a:lnTo>
                    <a:pt x="48" y="288"/>
                  </a:lnTo>
                  <a:lnTo>
                    <a:pt x="32" y="288"/>
                  </a:lnTo>
                  <a:lnTo>
                    <a:pt x="32" y="272"/>
                  </a:lnTo>
                  <a:lnTo>
                    <a:pt x="16" y="264"/>
                  </a:lnTo>
                  <a:lnTo>
                    <a:pt x="16" y="216"/>
                  </a:lnTo>
                  <a:lnTo>
                    <a:pt x="0" y="200"/>
                  </a:lnTo>
                  <a:lnTo>
                    <a:pt x="8" y="176"/>
                  </a:lnTo>
                  <a:lnTo>
                    <a:pt x="32" y="152"/>
                  </a:lnTo>
                  <a:lnTo>
                    <a:pt x="32" y="128"/>
                  </a:lnTo>
                  <a:lnTo>
                    <a:pt x="24" y="120"/>
                  </a:lnTo>
                  <a:lnTo>
                    <a:pt x="32" y="104"/>
                  </a:lnTo>
                  <a:lnTo>
                    <a:pt x="16" y="80"/>
                  </a:lnTo>
                  <a:lnTo>
                    <a:pt x="32" y="64"/>
                  </a:lnTo>
                  <a:lnTo>
                    <a:pt x="56" y="56"/>
                  </a:lnTo>
                  <a:lnTo>
                    <a:pt x="112" y="24"/>
                  </a:lnTo>
                  <a:lnTo>
                    <a:pt x="144" y="8"/>
                  </a:lnTo>
                  <a:lnTo>
                    <a:pt x="168" y="8"/>
                  </a:lnTo>
                  <a:lnTo>
                    <a:pt x="184" y="0"/>
                  </a:lnTo>
                  <a:lnTo>
                    <a:pt x="192" y="8"/>
                  </a:lnTo>
                  <a:lnTo>
                    <a:pt x="184" y="16"/>
                  </a:lnTo>
                  <a:lnTo>
                    <a:pt x="184" y="32"/>
                  </a:lnTo>
                  <a:lnTo>
                    <a:pt x="208" y="32"/>
                  </a:lnTo>
                  <a:lnTo>
                    <a:pt x="208" y="16"/>
                  </a:lnTo>
                  <a:lnTo>
                    <a:pt x="216" y="0"/>
                  </a:lnTo>
                  <a:lnTo>
                    <a:pt x="232" y="16"/>
                  </a:lnTo>
                  <a:lnTo>
                    <a:pt x="240" y="32"/>
                  </a:lnTo>
                  <a:lnTo>
                    <a:pt x="272" y="32"/>
                  </a:lnTo>
                  <a:lnTo>
                    <a:pt x="272" y="40"/>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2" name="Freeform 24"/>
            <p:cNvSpPr/>
            <p:nvPr/>
          </p:nvSpPr>
          <p:spPr bwMode="auto">
            <a:xfrm>
              <a:off x="3217132" y="3131509"/>
              <a:ext cx="594104" cy="714717"/>
            </a:xfrm>
            <a:custGeom>
              <a:avLst/>
              <a:gdLst>
                <a:gd name="T0" fmla="*/ 1415415 w 353"/>
                <a:gd name="T1" fmla="*/ 305083 h 417"/>
                <a:gd name="T2" fmla="*/ 1447392 w 353"/>
                <a:gd name="T3" fmla="*/ 373641 h 417"/>
                <a:gd name="T4" fmla="*/ 1314434 w 353"/>
                <a:gd name="T5" fmla="*/ 514185 h 417"/>
                <a:gd name="T6" fmla="*/ 1344728 w 353"/>
                <a:gd name="T7" fmla="*/ 629020 h 417"/>
                <a:gd name="T8" fmla="*/ 1344728 w 353"/>
                <a:gd name="T9" fmla="*/ 772991 h 417"/>
                <a:gd name="T10" fmla="*/ 1378389 w 353"/>
                <a:gd name="T11" fmla="*/ 841549 h 417"/>
                <a:gd name="T12" fmla="*/ 1481052 w 353"/>
                <a:gd name="T13" fmla="*/ 911821 h 417"/>
                <a:gd name="T14" fmla="*/ 1378389 w 353"/>
                <a:gd name="T15" fmla="*/ 935817 h 417"/>
                <a:gd name="T16" fmla="*/ 1344728 w 353"/>
                <a:gd name="T17" fmla="*/ 1072932 h 417"/>
                <a:gd name="T18" fmla="*/ 1146133 w 353"/>
                <a:gd name="T19" fmla="*/ 1168914 h 417"/>
                <a:gd name="T20" fmla="*/ 942488 w 353"/>
                <a:gd name="T21" fmla="*/ 1096928 h 417"/>
                <a:gd name="T22" fmla="*/ 907145 w 353"/>
                <a:gd name="T23" fmla="*/ 1191195 h 417"/>
                <a:gd name="T24" fmla="*/ 807847 w 353"/>
                <a:gd name="T25" fmla="*/ 1216904 h 417"/>
                <a:gd name="T26" fmla="*/ 710232 w 353"/>
                <a:gd name="T27" fmla="*/ 1122637 h 417"/>
                <a:gd name="T28" fmla="*/ 641228 w 353"/>
                <a:gd name="T29" fmla="*/ 1168914 h 417"/>
                <a:gd name="T30" fmla="*/ 605885 w 353"/>
                <a:gd name="T31" fmla="*/ 1030084 h 417"/>
                <a:gd name="T32" fmla="*/ 641228 w 353"/>
                <a:gd name="T33" fmla="*/ 911821 h 417"/>
                <a:gd name="T34" fmla="*/ 605885 w 353"/>
                <a:gd name="T35" fmla="*/ 841549 h 417"/>
                <a:gd name="T36" fmla="*/ 402240 w 353"/>
                <a:gd name="T37" fmla="*/ 911821 h 417"/>
                <a:gd name="T38" fmla="*/ 269282 w 353"/>
                <a:gd name="T39" fmla="*/ 886112 h 417"/>
                <a:gd name="T40" fmla="*/ 132958 w 353"/>
                <a:gd name="T41" fmla="*/ 911821 h 417"/>
                <a:gd name="T42" fmla="*/ 100981 w 353"/>
                <a:gd name="T43" fmla="*/ 886112 h 417"/>
                <a:gd name="T44" fmla="*/ 69004 w 353"/>
                <a:gd name="T45" fmla="*/ 772991 h 417"/>
                <a:gd name="T46" fmla="*/ 100981 w 353"/>
                <a:gd name="T47" fmla="*/ 699291 h 417"/>
                <a:gd name="T48" fmla="*/ 0 w 353"/>
                <a:gd name="T49" fmla="*/ 654729 h 417"/>
                <a:gd name="T50" fmla="*/ 100981 w 353"/>
                <a:gd name="T51" fmla="*/ 490190 h 417"/>
                <a:gd name="T52" fmla="*/ 100981 w 353"/>
                <a:gd name="T53" fmla="*/ 395922 h 417"/>
                <a:gd name="T54" fmla="*/ 100981 w 353"/>
                <a:gd name="T55" fmla="*/ 353074 h 417"/>
                <a:gd name="T56" fmla="*/ 203645 w 353"/>
                <a:gd name="T57" fmla="*/ 95981 h 417"/>
                <a:gd name="T58" fmla="*/ 435901 w 353"/>
                <a:gd name="T59" fmla="*/ 118263 h 417"/>
                <a:gd name="T60" fmla="*/ 472927 w 353"/>
                <a:gd name="T61" fmla="*/ 0 h 417"/>
                <a:gd name="T62" fmla="*/ 772504 w 353"/>
                <a:gd name="T63" fmla="*/ 46277 h 417"/>
                <a:gd name="T64" fmla="*/ 1043469 w 353"/>
                <a:gd name="T65" fmla="*/ 118263 h 417"/>
                <a:gd name="T66" fmla="*/ 1215136 w 353"/>
                <a:gd name="T67" fmla="*/ 95981 h 417"/>
                <a:gd name="T68" fmla="*/ 1277408 w 353"/>
                <a:gd name="T69" fmla="*/ 233097 h 4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3"/>
                <a:gd name="T106" fmla="*/ 0 h 417"/>
                <a:gd name="T107" fmla="*/ 353 w 353"/>
                <a:gd name="T108" fmla="*/ 417 h 4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3" h="417">
                  <a:moveTo>
                    <a:pt x="320" y="80"/>
                  </a:moveTo>
                  <a:lnTo>
                    <a:pt x="336" y="104"/>
                  </a:lnTo>
                  <a:lnTo>
                    <a:pt x="328" y="120"/>
                  </a:lnTo>
                  <a:lnTo>
                    <a:pt x="344" y="128"/>
                  </a:lnTo>
                  <a:lnTo>
                    <a:pt x="328" y="152"/>
                  </a:lnTo>
                  <a:lnTo>
                    <a:pt x="312" y="176"/>
                  </a:lnTo>
                  <a:lnTo>
                    <a:pt x="304" y="200"/>
                  </a:lnTo>
                  <a:lnTo>
                    <a:pt x="320" y="216"/>
                  </a:lnTo>
                  <a:lnTo>
                    <a:pt x="320" y="248"/>
                  </a:lnTo>
                  <a:lnTo>
                    <a:pt x="320" y="264"/>
                  </a:lnTo>
                  <a:lnTo>
                    <a:pt x="336" y="272"/>
                  </a:lnTo>
                  <a:lnTo>
                    <a:pt x="328" y="288"/>
                  </a:lnTo>
                  <a:lnTo>
                    <a:pt x="352" y="288"/>
                  </a:lnTo>
                  <a:lnTo>
                    <a:pt x="352" y="312"/>
                  </a:lnTo>
                  <a:lnTo>
                    <a:pt x="344" y="312"/>
                  </a:lnTo>
                  <a:lnTo>
                    <a:pt x="328" y="320"/>
                  </a:lnTo>
                  <a:lnTo>
                    <a:pt x="328" y="360"/>
                  </a:lnTo>
                  <a:lnTo>
                    <a:pt x="320" y="368"/>
                  </a:lnTo>
                  <a:lnTo>
                    <a:pt x="264" y="368"/>
                  </a:lnTo>
                  <a:lnTo>
                    <a:pt x="272" y="400"/>
                  </a:lnTo>
                  <a:lnTo>
                    <a:pt x="248" y="400"/>
                  </a:lnTo>
                  <a:lnTo>
                    <a:pt x="224" y="376"/>
                  </a:lnTo>
                  <a:lnTo>
                    <a:pt x="216" y="384"/>
                  </a:lnTo>
                  <a:lnTo>
                    <a:pt x="216" y="408"/>
                  </a:lnTo>
                  <a:lnTo>
                    <a:pt x="200" y="408"/>
                  </a:lnTo>
                  <a:lnTo>
                    <a:pt x="192" y="416"/>
                  </a:lnTo>
                  <a:lnTo>
                    <a:pt x="168" y="416"/>
                  </a:lnTo>
                  <a:lnTo>
                    <a:pt x="168" y="384"/>
                  </a:lnTo>
                  <a:lnTo>
                    <a:pt x="152" y="384"/>
                  </a:lnTo>
                  <a:lnTo>
                    <a:pt x="152" y="400"/>
                  </a:lnTo>
                  <a:lnTo>
                    <a:pt x="136" y="400"/>
                  </a:lnTo>
                  <a:lnTo>
                    <a:pt x="144" y="352"/>
                  </a:lnTo>
                  <a:lnTo>
                    <a:pt x="152" y="336"/>
                  </a:lnTo>
                  <a:lnTo>
                    <a:pt x="152" y="312"/>
                  </a:lnTo>
                  <a:lnTo>
                    <a:pt x="152" y="296"/>
                  </a:lnTo>
                  <a:lnTo>
                    <a:pt x="144" y="288"/>
                  </a:lnTo>
                  <a:lnTo>
                    <a:pt x="96" y="296"/>
                  </a:lnTo>
                  <a:lnTo>
                    <a:pt x="96" y="312"/>
                  </a:lnTo>
                  <a:lnTo>
                    <a:pt x="72" y="320"/>
                  </a:lnTo>
                  <a:lnTo>
                    <a:pt x="64" y="304"/>
                  </a:lnTo>
                  <a:lnTo>
                    <a:pt x="56" y="320"/>
                  </a:lnTo>
                  <a:lnTo>
                    <a:pt x="32" y="312"/>
                  </a:lnTo>
                  <a:lnTo>
                    <a:pt x="32" y="304"/>
                  </a:lnTo>
                  <a:lnTo>
                    <a:pt x="24" y="304"/>
                  </a:lnTo>
                  <a:lnTo>
                    <a:pt x="24" y="288"/>
                  </a:lnTo>
                  <a:lnTo>
                    <a:pt x="16" y="264"/>
                  </a:lnTo>
                  <a:lnTo>
                    <a:pt x="32" y="256"/>
                  </a:lnTo>
                  <a:lnTo>
                    <a:pt x="24" y="240"/>
                  </a:lnTo>
                  <a:lnTo>
                    <a:pt x="0" y="240"/>
                  </a:lnTo>
                  <a:lnTo>
                    <a:pt x="0" y="224"/>
                  </a:lnTo>
                  <a:lnTo>
                    <a:pt x="24" y="192"/>
                  </a:lnTo>
                  <a:lnTo>
                    <a:pt x="24" y="168"/>
                  </a:lnTo>
                  <a:lnTo>
                    <a:pt x="32" y="160"/>
                  </a:lnTo>
                  <a:lnTo>
                    <a:pt x="24" y="136"/>
                  </a:lnTo>
                  <a:lnTo>
                    <a:pt x="16" y="136"/>
                  </a:lnTo>
                  <a:lnTo>
                    <a:pt x="24" y="120"/>
                  </a:lnTo>
                  <a:lnTo>
                    <a:pt x="16" y="80"/>
                  </a:lnTo>
                  <a:lnTo>
                    <a:pt x="48" y="32"/>
                  </a:lnTo>
                  <a:lnTo>
                    <a:pt x="80" y="32"/>
                  </a:lnTo>
                  <a:lnTo>
                    <a:pt x="104" y="40"/>
                  </a:lnTo>
                  <a:lnTo>
                    <a:pt x="96" y="8"/>
                  </a:lnTo>
                  <a:lnTo>
                    <a:pt x="112" y="0"/>
                  </a:lnTo>
                  <a:lnTo>
                    <a:pt x="152" y="16"/>
                  </a:lnTo>
                  <a:lnTo>
                    <a:pt x="184" y="16"/>
                  </a:lnTo>
                  <a:lnTo>
                    <a:pt x="208" y="40"/>
                  </a:lnTo>
                  <a:lnTo>
                    <a:pt x="248" y="40"/>
                  </a:lnTo>
                  <a:lnTo>
                    <a:pt x="256" y="48"/>
                  </a:lnTo>
                  <a:lnTo>
                    <a:pt x="288" y="32"/>
                  </a:lnTo>
                  <a:lnTo>
                    <a:pt x="304" y="32"/>
                  </a:lnTo>
                  <a:lnTo>
                    <a:pt x="304" y="80"/>
                  </a:lnTo>
                  <a:lnTo>
                    <a:pt x="320" y="80"/>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3" name="Freeform 25"/>
            <p:cNvSpPr/>
            <p:nvPr/>
          </p:nvSpPr>
          <p:spPr bwMode="auto">
            <a:xfrm>
              <a:off x="3165288" y="2724860"/>
              <a:ext cx="822498" cy="545280"/>
            </a:xfrm>
            <a:custGeom>
              <a:avLst/>
              <a:gdLst>
                <a:gd name="T0" fmla="*/ 2045312 w 489"/>
                <a:gd name="T1" fmla="*/ 686271 h 321"/>
                <a:gd name="T2" fmla="*/ 1877112 w 489"/>
                <a:gd name="T3" fmla="*/ 730437 h 321"/>
                <a:gd name="T4" fmla="*/ 1643314 w 489"/>
                <a:gd name="T5" fmla="*/ 820468 h 321"/>
                <a:gd name="T6" fmla="*/ 1544076 w 489"/>
                <a:gd name="T7" fmla="*/ 840852 h 321"/>
                <a:gd name="T8" fmla="*/ 1478478 w 489"/>
                <a:gd name="T9" fmla="*/ 886717 h 321"/>
                <a:gd name="T10" fmla="*/ 1377558 w 489"/>
                <a:gd name="T11" fmla="*/ 886717 h 321"/>
                <a:gd name="T12" fmla="*/ 1407834 w 489"/>
                <a:gd name="T13" fmla="*/ 754219 h 321"/>
                <a:gd name="T14" fmla="*/ 1340554 w 489"/>
                <a:gd name="T15" fmla="*/ 754219 h 321"/>
                <a:gd name="T16" fmla="*/ 1207676 w 489"/>
                <a:gd name="T17" fmla="*/ 800084 h 321"/>
                <a:gd name="T18" fmla="*/ 1172354 w 489"/>
                <a:gd name="T19" fmla="*/ 778001 h 321"/>
                <a:gd name="T20" fmla="*/ 1005836 w 489"/>
                <a:gd name="T21" fmla="*/ 778001 h 321"/>
                <a:gd name="T22" fmla="*/ 940238 w 489"/>
                <a:gd name="T23" fmla="*/ 708354 h 321"/>
                <a:gd name="T24" fmla="*/ 772038 w 489"/>
                <a:gd name="T25" fmla="*/ 708354 h 321"/>
                <a:gd name="T26" fmla="*/ 605520 w 489"/>
                <a:gd name="T27" fmla="*/ 664188 h 321"/>
                <a:gd name="T28" fmla="*/ 536558 w 489"/>
                <a:gd name="T29" fmla="*/ 686271 h 321"/>
                <a:gd name="T30" fmla="*/ 570198 w 489"/>
                <a:gd name="T31" fmla="*/ 778001 h 321"/>
                <a:gd name="T32" fmla="*/ 467596 w 489"/>
                <a:gd name="T33" fmla="*/ 754219 h 321"/>
                <a:gd name="T34" fmla="*/ 334718 w 489"/>
                <a:gd name="T35" fmla="*/ 754219 h 321"/>
                <a:gd name="T36" fmla="*/ 203522 w 489"/>
                <a:gd name="T37" fmla="*/ 886717 h 321"/>
                <a:gd name="T38" fmla="*/ 33640 w 489"/>
                <a:gd name="T39" fmla="*/ 754219 h 321"/>
                <a:gd name="T40" fmla="*/ 0 w 489"/>
                <a:gd name="T41" fmla="*/ 754219 h 321"/>
                <a:gd name="T42" fmla="*/ 33640 w 489"/>
                <a:gd name="T43" fmla="*/ 708354 h 321"/>
                <a:gd name="T44" fmla="*/ 68962 w 489"/>
                <a:gd name="T45" fmla="*/ 686271 h 321"/>
                <a:gd name="T46" fmla="*/ 0 w 489"/>
                <a:gd name="T47" fmla="*/ 642105 h 321"/>
                <a:gd name="T48" fmla="*/ 0 w 489"/>
                <a:gd name="T49" fmla="*/ 620022 h 321"/>
                <a:gd name="T50" fmla="*/ 68962 w 489"/>
                <a:gd name="T51" fmla="*/ 577555 h 321"/>
                <a:gd name="T52" fmla="*/ 301078 w 489"/>
                <a:gd name="T53" fmla="*/ 577555 h 321"/>
                <a:gd name="T54" fmla="*/ 401998 w 489"/>
                <a:gd name="T55" fmla="*/ 533389 h 321"/>
                <a:gd name="T56" fmla="*/ 467596 w 489"/>
                <a:gd name="T57" fmla="*/ 509607 h 321"/>
                <a:gd name="T58" fmla="*/ 467596 w 489"/>
                <a:gd name="T59" fmla="*/ 441660 h 321"/>
                <a:gd name="T60" fmla="*/ 334718 w 489"/>
                <a:gd name="T61" fmla="*/ 332944 h 321"/>
                <a:gd name="T62" fmla="*/ 301078 w 489"/>
                <a:gd name="T63" fmla="*/ 220830 h 321"/>
                <a:gd name="T64" fmla="*/ 366676 w 489"/>
                <a:gd name="T65" fmla="*/ 156280 h 321"/>
                <a:gd name="T66" fmla="*/ 366676 w 489"/>
                <a:gd name="T67" fmla="*/ 112114 h 321"/>
                <a:gd name="T68" fmla="*/ 301078 w 489"/>
                <a:gd name="T69" fmla="*/ 22083 h 321"/>
                <a:gd name="T70" fmla="*/ 536558 w 489"/>
                <a:gd name="T71" fmla="*/ 22083 h 321"/>
                <a:gd name="T72" fmla="*/ 605520 w 489"/>
                <a:gd name="T73" fmla="*/ 44166 h 321"/>
                <a:gd name="T74" fmla="*/ 703076 w 489"/>
                <a:gd name="T75" fmla="*/ 0 h 321"/>
                <a:gd name="T76" fmla="*/ 872958 w 489"/>
                <a:gd name="T77" fmla="*/ 198747 h 321"/>
                <a:gd name="T78" fmla="*/ 1172354 w 489"/>
                <a:gd name="T79" fmla="*/ 198747 h 321"/>
                <a:gd name="T80" fmla="*/ 1237952 w 489"/>
                <a:gd name="T81" fmla="*/ 220830 h 321"/>
                <a:gd name="T82" fmla="*/ 1308596 w 489"/>
                <a:gd name="T83" fmla="*/ 198747 h 321"/>
                <a:gd name="T84" fmla="*/ 1407834 w 489"/>
                <a:gd name="T85" fmla="*/ 242913 h 321"/>
                <a:gd name="T86" fmla="*/ 1407834 w 489"/>
                <a:gd name="T87" fmla="*/ 312559 h 321"/>
                <a:gd name="T88" fmla="*/ 1478478 w 489"/>
                <a:gd name="T89" fmla="*/ 353328 h 321"/>
                <a:gd name="T90" fmla="*/ 1510436 w 489"/>
                <a:gd name="T91" fmla="*/ 312559 h 321"/>
                <a:gd name="T92" fmla="*/ 1572670 w 489"/>
                <a:gd name="T93" fmla="*/ 353328 h 321"/>
                <a:gd name="T94" fmla="*/ 1710594 w 489"/>
                <a:gd name="T95" fmla="*/ 353328 h 321"/>
                <a:gd name="T96" fmla="*/ 1742552 w 489"/>
                <a:gd name="T97" fmla="*/ 332944 h 321"/>
                <a:gd name="T98" fmla="*/ 1946074 w 489"/>
                <a:gd name="T99" fmla="*/ 421276 h 321"/>
                <a:gd name="T100" fmla="*/ 1981396 w 489"/>
                <a:gd name="T101" fmla="*/ 533389 h 321"/>
                <a:gd name="T102" fmla="*/ 1981396 w 489"/>
                <a:gd name="T103" fmla="*/ 597939 h 321"/>
                <a:gd name="T104" fmla="*/ 2045312 w 489"/>
                <a:gd name="T105" fmla="*/ 686271 h 32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9"/>
                <a:gd name="T160" fmla="*/ 0 h 321"/>
                <a:gd name="T161" fmla="*/ 489 w 489"/>
                <a:gd name="T162" fmla="*/ 321 h 32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9" h="321">
                  <a:moveTo>
                    <a:pt x="488" y="248"/>
                  </a:moveTo>
                  <a:lnTo>
                    <a:pt x="448" y="264"/>
                  </a:lnTo>
                  <a:lnTo>
                    <a:pt x="392" y="296"/>
                  </a:lnTo>
                  <a:lnTo>
                    <a:pt x="368" y="304"/>
                  </a:lnTo>
                  <a:lnTo>
                    <a:pt x="352" y="320"/>
                  </a:lnTo>
                  <a:lnTo>
                    <a:pt x="328" y="320"/>
                  </a:lnTo>
                  <a:lnTo>
                    <a:pt x="336" y="272"/>
                  </a:lnTo>
                  <a:lnTo>
                    <a:pt x="320" y="272"/>
                  </a:lnTo>
                  <a:lnTo>
                    <a:pt x="288" y="288"/>
                  </a:lnTo>
                  <a:lnTo>
                    <a:pt x="280" y="280"/>
                  </a:lnTo>
                  <a:lnTo>
                    <a:pt x="240" y="280"/>
                  </a:lnTo>
                  <a:lnTo>
                    <a:pt x="224" y="256"/>
                  </a:lnTo>
                  <a:lnTo>
                    <a:pt x="184" y="256"/>
                  </a:lnTo>
                  <a:lnTo>
                    <a:pt x="144" y="240"/>
                  </a:lnTo>
                  <a:lnTo>
                    <a:pt x="128" y="248"/>
                  </a:lnTo>
                  <a:lnTo>
                    <a:pt x="136" y="280"/>
                  </a:lnTo>
                  <a:lnTo>
                    <a:pt x="112" y="272"/>
                  </a:lnTo>
                  <a:lnTo>
                    <a:pt x="80" y="272"/>
                  </a:lnTo>
                  <a:lnTo>
                    <a:pt x="48" y="320"/>
                  </a:lnTo>
                  <a:lnTo>
                    <a:pt x="8" y="272"/>
                  </a:lnTo>
                  <a:lnTo>
                    <a:pt x="0" y="272"/>
                  </a:lnTo>
                  <a:lnTo>
                    <a:pt x="8" y="256"/>
                  </a:lnTo>
                  <a:lnTo>
                    <a:pt x="16" y="248"/>
                  </a:lnTo>
                  <a:lnTo>
                    <a:pt x="0" y="232"/>
                  </a:lnTo>
                  <a:lnTo>
                    <a:pt x="0" y="224"/>
                  </a:lnTo>
                  <a:lnTo>
                    <a:pt x="16" y="208"/>
                  </a:lnTo>
                  <a:lnTo>
                    <a:pt x="72" y="208"/>
                  </a:lnTo>
                  <a:lnTo>
                    <a:pt x="96" y="192"/>
                  </a:lnTo>
                  <a:lnTo>
                    <a:pt x="112" y="184"/>
                  </a:lnTo>
                  <a:lnTo>
                    <a:pt x="112" y="160"/>
                  </a:lnTo>
                  <a:lnTo>
                    <a:pt x="80" y="120"/>
                  </a:lnTo>
                  <a:lnTo>
                    <a:pt x="72" y="80"/>
                  </a:lnTo>
                  <a:lnTo>
                    <a:pt x="88" y="56"/>
                  </a:lnTo>
                  <a:lnTo>
                    <a:pt x="88" y="40"/>
                  </a:lnTo>
                  <a:lnTo>
                    <a:pt x="72" y="8"/>
                  </a:lnTo>
                  <a:lnTo>
                    <a:pt x="128" y="8"/>
                  </a:lnTo>
                  <a:lnTo>
                    <a:pt x="144" y="16"/>
                  </a:lnTo>
                  <a:lnTo>
                    <a:pt x="168" y="0"/>
                  </a:lnTo>
                  <a:lnTo>
                    <a:pt x="208" y="72"/>
                  </a:lnTo>
                  <a:lnTo>
                    <a:pt x="280" y="72"/>
                  </a:lnTo>
                  <a:lnTo>
                    <a:pt x="296" y="80"/>
                  </a:lnTo>
                  <a:lnTo>
                    <a:pt x="312" y="72"/>
                  </a:lnTo>
                  <a:lnTo>
                    <a:pt x="336" y="88"/>
                  </a:lnTo>
                  <a:lnTo>
                    <a:pt x="336" y="112"/>
                  </a:lnTo>
                  <a:lnTo>
                    <a:pt x="352" y="128"/>
                  </a:lnTo>
                  <a:lnTo>
                    <a:pt x="360" y="112"/>
                  </a:lnTo>
                  <a:lnTo>
                    <a:pt x="376" y="128"/>
                  </a:lnTo>
                  <a:lnTo>
                    <a:pt x="408" y="128"/>
                  </a:lnTo>
                  <a:lnTo>
                    <a:pt x="416" y="120"/>
                  </a:lnTo>
                  <a:lnTo>
                    <a:pt x="464" y="152"/>
                  </a:lnTo>
                  <a:lnTo>
                    <a:pt x="472" y="192"/>
                  </a:lnTo>
                  <a:lnTo>
                    <a:pt x="472" y="216"/>
                  </a:lnTo>
                  <a:lnTo>
                    <a:pt x="488" y="248"/>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4" name="Freeform 26"/>
            <p:cNvSpPr/>
            <p:nvPr/>
          </p:nvSpPr>
          <p:spPr bwMode="auto">
            <a:xfrm>
              <a:off x="3823847" y="2532317"/>
              <a:ext cx="512835" cy="657725"/>
            </a:xfrm>
            <a:custGeom>
              <a:avLst/>
              <a:gdLst>
                <a:gd name="T0" fmla="*/ 366551 w 305"/>
                <a:gd name="T1" fmla="*/ 0 h 385"/>
                <a:gd name="T2" fmla="*/ 536375 w 305"/>
                <a:gd name="T3" fmla="*/ 90544 h 385"/>
                <a:gd name="T4" fmla="*/ 736465 w 305"/>
                <a:gd name="T5" fmla="*/ 186213 h 385"/>
                <a:gd name="T6" fmla="*/ 837350 w 305"/>
                <a:gd name="T7" fmla="*/ 275049 h 385"/>
                <a:gd name="T8" fmla="*/ 1005493 w 305"/>
                <a:gd name="T9" fmla="*/ 387801 h 385"/>
                <a:gd name="T10" fmla="*/ 1136644 w 305"/>
                <a:gd name="T11" fmla="*/ 411719 h 385"/>
                <a:gd name="T12" fmla="*/ 1040803 w 305"/>
                <a:gd name="T13" fmla="*/ 411719 h 385"/>
                <a:gd name="T14" fmla="*/ 970183 w 305"/>
                <a:gd name="T15" fmla="*/ 503971 h 385"/>
                <a:gd name="T16" fmla="*/ 1040803 w 305"/>
                <a:gd name="T17" fmla="*/ 640641 h 385"/>
                <a:gd name="T18" fmla="*/ 1207264 w 305"/>
                <a:gd name="T19" fmla="*/ 710685 h 385"/>
                <a:gd name="T20" fmla="*/ 1207264 w 305"/>
                <a:gd name="T21" fmla="*/ 849063 h 385"/>
                <a:gd name="T22" fmla="*/ 1171954 w 305"/>
                <a:gd name="T23" fmla="*/ 919107 h 385"/>
                <a:gd name="T24" fmla="*/ 1103016 w 305"/>
                <a:gd name="T25" fmla="*/ 893481 h 385"/>
                <a:gd name="T26" fmla="*/ 1136644 w 305"/>
                <a:gd name="T27" fmla="*/ 987442 h 385"/>
                <a:gd name="T28" fmla="*/ 1103016 w 305"/>
                <a:gd name="T29" fmla="*/ 1031859 h 385"/>
                <a:gd name="T30" fmla="*/ 939917 w 305"/>
                <a:gd name="T31" fmla="*/ 1098486 h 385"/>
                <a:gd name="T32" fmla="*/ 770093 w 305"/>
                <a:gd name="T33" fmla="*/ 1098486 h 385"/>
                <a:gd name="T34" fmla="*/ 633898 w 305"/>
                <a:gd name="T35" fmla="*/ 1055777 h 385"/>
                <a:gd name="T36" fmla="*/ 536375 w 305"/>
                <a:gd name="T37" fmla="*/ 1098486 h 385"/>
                <a:gd name="T38" fmla="*/ 568322 w 305"/>
                <a:gd name="T39" fmla="*/ 1031859 h 385"/>
                <a:gd name="T40" fmla="*/ 504428 w 305"/>
                <a:gd name="T41" fmla="*/ 1055777 h 385"/>
                <a:gd name="T42" fmla="*/ 334604 w 305"/>
                <a:gd name="T43" fmla="*/ 893481 h 385"/>
                <a:gd name="T44" fmla="*/ 300975 w 305"/>
                <a:gd name="T45" fmla="*/ 756811 h 385"/>
                <a:gd name="T46" fmla="*/ 300975 w 305"/>
                <a:gd name="T47" fmla="*/ 620141 h 385"/>
                <a:gd name="T48" fmla="*/ 300975 w 305"/>
                <a:gd name="T49" fmla="*/ 456137 h 385"/>
                <a:gd name="T50" fmla="*/ 100886 w 305"/>
                <a:gd name="T51" fmla="*/ 435636 h 385"/>
                <a:gd name="T52" fmla="*/ 0 w 305"/>
                <a:gd name="T53" fmla="*/ 387801 h 385"/>
                <a:gd name="T54" fmla="*/ 132833 w 305"/>
                <a:gd name="T55" fmla="*/ 345092 h 385"/>
                <a:gd name="T56" fmla="*/ 169824 w 305"/>
                <a:gd name="T57" fmla="*/ 114461 h 385"/>
                <a:gd name="T58" fmla="*/ 300975 w 305"/>
                <a:gd name="T59" fmla="*/ 160587 h 385"/>
                <a:gd name="T60" fmla="*/ 435489 w 305"/>
                <a:gd name="T61" fmla="*/ 136670 h 385"/>
                <a:gd name="T62" fmla="*/ 334604 w 305"/>
                <a:gd name="T63" fmla="*/ 46126 h 3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5"/>
                <a:gd name="T97" fmla="*/ 0 h 385"/>
                <a:gd name="T98" fmla="*/ 305 w 305"/>
                <a:gd name="T99" fmla="*/ 385 h 38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5" h="385">
                  <a:moveTo>
                    <a:pt x="80" y="8"/>
                  </a:moveTo>
                  <a:lnTo>
                    <a:pt x="88" y="0"/>
                  </a:lnTo>
                  <a:lnTo>
                    <a:pt x="120" y="8"/>
                  </a:lnTo>
                  <a:lnTo>
                    <a:pt x="128" y="32"/>
                  </a:lnTo>
                  <a:lnTo>
                    <a:pt x="152" y="32"/>
                  </a:lnTo>
                  <a:lnTo>
                    <a:pt x="176" y="64"/>
                  </a:lnTo>
                  <a:lnTo>
                    <a:pt x="184" y="56"/>
                  </a:lnTo>
                  <a:lnTo>
                    <a:pt x="200" y="96"/>
                  </a:lnTo>
                  <a:lnTo>
                    <a:pt x="224" y="136"/>
                  </a:lnTo>
                  <a:lnTo>
                    <a:pt x="240" y="136"/>
                  </a:lnTo>
                  <a:lnTo>
                    <a:pt x="256" y="120"/>
                  </a:lnTo>
                  <a:lnTo>
                    <a:pt x="272" y="144"/>
                  </a:lnTo>
                  <a:lnTo>
                    <a:pt x="256" y="160"/>
                  </a:lnTo>
                  <a:lnTo>
                    <a:pt x="248" y="144"/>
                  </a:lnTo>
                  <a:lnTo>
                    <a:pt x="232" y="144"/>
                  </a:lnTo>
                  <a:lnTo>
                    <a:pt x="232" y="176"/>
                  </a:lnTo>
                  <a:lnTo>
                    <a:pt x="224" y="192"/>
                  </a:lnTo>
                  <a:lnTo>
                    <a:pt x="248" y="224"/>
                  </a:lnTo>
                  <a:lnTo>
                    <a:pt x="248" y="248"/>
                  </a:lnTo>
                  <a:lnTo>
                    <a:pt x="288" y="248"/>
                  </a:lnTo>
                  <a:lnTo>
                    <a:pt x="304" y="264"/>
                  </a:lnTo>
                  <a:lnTo>
                    <a:pt x="288" y="296"/>
                  </a:lnTo>
                  <a:lnTo>
                    <a:pt x="296" y="320"/>
                  </a:lnTo>
                  <a:lnTo>
                    <a:pt x="280" y="320"/>
                  </a:lnTo>
                  <a:lnTo>
                    <a:pt x="280" y="312"/>
                  </a:lnTo>
                  <a:lnTo>
                    <a:pt x="264" y="312"/>
                  </a:lnTo>
                  <a:lnTo>
                    <a:pt x="264" y="328"/>
                  </a:lnTo>
                  <a:lnTo>
                    <a:pt x="272" y="344"/>
                  </a:lnTo>
                  <a:lnTo>
                    <a:pt x="264" y="344"/>
                  </a:lnTo>
                  <a:lnTo>
                    <a:pt x="264" y="360"/>
                  </a:lnTo>
                  <a:lnTo>
                    <a:pt x="232" y="384"/>
                  </a:lnTo>
                  <a:lnTo>
                    <a:pt x="224" y="384"/>
                  </a:lnTo>
                  <a:lnTo>
                    <a:pt x="216" y="376"/>
                  </a:lnTo>
                  <a:lnTo>
                    <a:pt x="184" y="384"/>
                  </a:lnTo>
                  <a:lnTo>
                    <a:pt x="168" y="352"/>
                  </a:lnTo>
                  <a:lnTo>
                    <a:pt x="152" y="368"/>
                  </a:lnTo>
                  <a:lnTo>
                    <a:pt x="152" y="384"/>
                  </a:lnTo>
                  <a:lnTo>
                    <a:pt x="128" y="384"/>
                  </a:lnTo>
                  <a:lnTo>
                    <a:pt x="128" y="368"/>
                  </a:lnTo>
                  <a:lnTo>
                    <a:pt x="136" y="360"/>
                  </a:lnTo>
                  <a:lnTo>
                    <a:pt x="128" y="352"/>
                  </a:lnTo>
                  <a:lnTo>
                    <a:pt x="120" y="368"/>
                  </a:lnTo>
                  <a:lnTo>
                    <a:pt x="88" y="360"/>
                  </a:lnTo>
                  <a:lnTo>
                    <a:pt x="80" y="312"/>
                  </a:lnTo>
                  <a:lnTo>
                    <a:pt x="80" y="296"/>
                  </a:lnTo>
                  <a:lnTo>
                    <a:pt x="72" y="264"/>
                  </a:lnTo>
                  <a:lnTo>
                    <a:pt x="32" y="240"/>
                  </a:lnTo>
                  <a:lnTo>
                    <a:pt x="72" y="216"/>
                  </a:lnTo>
                  <a:lnTo>
                    <a:pt x="80" y="216"/>
                  </a:lnTo>
                  <a:lnTo>
                    <a:pt x="72" y="160"/>
                  </a:lnTo>
                  <a:lnTo>
                    <a:pt x="48" y="168"/>
                  </a:lnTo>
                  <a:lnTo>
                    <a:pt x="24" y="152"/>
                  </a:lnTo>
                  <a:lnTo>
                    <a:pt x="16" y="136"/>
                  </a:lnTo>
                  <a:lnTo>
                    <a:pt x="0" y="136"/>
                  </a:lnTo>
                  <a:lnTo>
                    <a:pt x="8" y="120"/>
                  </a:lnTo>
                  <a:lnTo>
                    <a:pt x="32" y="120"/>
                  </a:lnTo>
                  <a:lnTo>
                    <a:pt x="40" y="88"/>
                  </a:lnTo>
                  <a:lnTo>
                    <a:pt x="40" y="40"/>
                  </a:lnTo>
                  <a:lnTo>
                    <a:pt x="48" y="40"/>
                  </a:lnTo>
                  <a:lnTo>
                    <a:pt x="72" y="56"/>
                  </a:lnTo>
                  <a:lnTo>
                    <a:pt x="80" y="72"/>
                  </a:lnTo>
                  <a:lnTo>
                    <a:pt x="104" y="48"/>
                  </a:lnTo>
                  <a:lnTo>
                    <a:pt x="104" y="32"/>
                  </a:lnTo>
                  <a:lnTo>
                    <a:pt x="80" y="16"/>
                  </a:lnTo>
                  <a:lnTo>
                    <a:pt x="80" y="8"/>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5" name="Freeform 27"/>
            <p:cNvSpPr/>
            <p:nvPr/>
          </p:nvSpPr>
          <p:spPr bwMode="auto">
            <a:xfrm>
              <a:off x="3367059" y="2327452"/>
              <a:ext cx="634739" cy="614595"/>
            </a:xfrm>
            <a:custGeom>
              <a:avLst/>
              <a:gdLst>
                <a:gd name="T0" fmla="*/ 841829 w 377"/>
                <a:gd name="T1" fmla="*/ 22132 h 361"/>
                <a:gd name="T2" fmla="*/ 1045552 w 377"/>
                <a:gd name="T3" fmla="*/ 0 h 361"/>
                <a:gd name="T4" fmla="*/ 1112898 w 377"/>
                <a:gd name="T5" fmla="*/ 45967 h 361"/>
                <a:gd name="T6" fmla="*/ 1281264 w 377"/>
                <a:gd name="T7" fmla="*/ 68099 h 361"/>
                <a:gd name="T8" fmla="*/ 1351977 w 377"/>
                <a:gd name="T9" fmla="*/ 45967 h 361"/>
                <a:gd name="T10" fmla="*/ 1417640 w 377"/>
                <a:gd name="T11" fmla="*/ 45967 h 361"/>
                <a:gd name="T12" fmla="*/ 1180244 w 377"/>
                <a:gd name="T13" fmla="*/ 178760 h 361"/>
                <a:gd name="T14" fmla="*/ 1146571 w 377"/>
                <a:gd name="T15" fmla="*/ 245157 h 361"/>
                <a:gd name="T16" fmla="*/ 1180244 w 377"/>
                <a:gd name="T17" fmla="*/ 268992 h 361"/>
                <a:gd name="T18" fmla="*/ 1215601 w 377"/>
                <a:gd name="T19" fmla="*/ 268992 h 361"/>
                <a:gd name="T20" fmla="*/ 1351977 w 377"/>
                <a:gd name="T21" fmla="*/ 357521 h 361"/>
                <a:gd name="T22" fmla="*/ 1483303 w 377"/>
                <a:gd name="T23" fmla="*/ 357521 h 361"/>
                <a:gd name="T24" fmla="*/ 1483303 w 377"/>
                <a:gd name="T25" fmla="*/ 406893 h 361"/>
                <a:gd name="T26" fmla="*/ 1584322 w 377"/>
                <a:gd name="T27" fmla="*/ 429025 h 361"/>
                <a:gd name="T28" fmla="*/ 1584322 w 377"/>
                <a:gd name="T29" fmla="*/ 474992 h 361"/>
                <a:gd name="T30" fmla="*/ 1483303 w 377"/>
                <a:gd name="T31" fmla="*/ 537983 h 361"/>
                <a:gd name="T32" fmla="*/ 1483303 w 377"/>
                <a:gd name="T33" fmla="*/ 497124 h 361"/>
                <a:gd name="T34" fmla="*/ 1382283 w 377"/>
                <a:gd name="T35" fmla="*/ 451157 h 361"/>
                <a:gd name="T36" fmla="*/ 1316620 w 377"/>
                <a:gd name="T37" fmla="*/ 451157 h 361"/>
                <a:gd name="T38" fmla="*/ 1316620 w 377"/>
                <a:gd name="T39" fmla="*/ 585653 h 361"/>
                <a:gd name="T40" fmla="*/ 1281264 w 377"/>
                <a:gd name="T41" fmla="*/ 674182 h 361"/>
                <a:gd name="T42" fmla="*/ 1180244 w 377"/>
                <a:gd name="T43" fmla="*/ 674182 h 361"/>
                <a:gd name="T44" fmla="*/ 1146571 w 377"/>
                <a:gd name="T45" fmla="*/ 696314 h 361"/>
                <a:gd name="T46" fmla="*/ 1215601 w 377"/>
                <a:gd name="T47" fmla="*/ 718446 h 361"/>
                <a:gd name="T48" fmla="*/ 1250958 w 377"/>
                <a:gd name="T49" fmla="*/ 766116 h 361"/>
                <a:gd name="T50" fmla="*/ 1351977 w 377"/>
                <a:gd name="T51" fmla="*/ 806975 h 361"/>
                <a:gd name="T52" fmla="*/ 1447946 w 377"/>
                <a:gd name="T53" fmla="*/ 786545 h 361"/>
                <a:gd name="T54" fmla="*/ 1483303 w 377"/>
                <a:gd name="T55" fmla="*/ 943173 h 361"/>
                <a:gd name="T56" fmla="*/ 1281264 w 377"/>
                <a:gd name="T57" fmla="*/ 1011273 h 361"/>
                <a:gd name="T58" fmla="*/ 1250958 w 377"/>
                <a:gd name="T59" fmla="*/ 987438 h 361"/>
                <a:gd name="T60" fmla="*/ 1215601 w 377"/>
                <a:gd name="T61" fmla="*/ 1011273 h 361"/>
                <a:gd name="T62" fmla="*/ 1082592 w 377"/>
                <a:gd name="T63" fmla="*/ 1011273 h 361"/>
                <a:gd name="T64" fmla="*/ 1011878 w 377"/>
                <a:gd name="T65" fmla="*/ 965306 h 361"/>
                <a:gd name="T66" fmla="*/ 979889 w 377"/>
                <a:gd name="T67" fmla="*/ 1011273 h 361"/>
                <a:gd name="T68" fmla="*/ 912543 w 377"/>
                <a:gd name="T69" fmla="*/ 965306 h 361"/>
                <a:gd name="T70" fmla="*/ 912543 w 377"/>
                <a:gd name="T71" fmla="*/ 897207 h 361"/>
                <a:gd name="T72" fmla="*/ 811523 w 377"/>
                <a:gd name="T73" fmla="*/ 852942 h 361"/>
                <a:gd name="T74" fmla="*/ 740809 w 377"/>
                <a:gd name="T75" fmla="*/ 875074 h 361"/>
                <a:gd name="T76" fmla="*/ 675147 w 377"/>
                <a:gd name="T77" fmla="*/ 852942 h 361"/>
                <a:gd name="T78" fmla="*/ 372088 w 377"/>
                <a:gd name="T79" fmla="*/ 829107 h 361"/>
                <a:gd name="T80" fmla="*/ 203723 w 377"/>
                <a:gd name="T81" fmla="*/ 650347 h 361"/>
                <a:gd name="T82" fmla="*/ 69030 w 377"/>
                <a:gd name="T83" fmla="*/ 515851 h 361"/>
                <a:gd name="T84" fmla="*/ 0 w 377"/>
                <a:gd name="T85" fmla="*/ 357521 h 361"/>
                <a:gd name="T86" fmla="*/ 133009 w 377"/>
                <a:gd name="T87" fmla="*/ 357521 h 361"/>
                <a:gd name="T88" fmla="*/ 473108 w 377"/>
                <a:gd name="T89" fmla="*/ 221322 h 361"/>
                <a:gd name="T90" fmla="*/ 574127 w 377"/>
                <a:gd name="T91" fmla="*/ 221322 h 361"/>
                <a:gd name="T92" fmla="*/ 710504 w 377"/>
                <a:gd name="T93" fmla="*/ 221322 h 361"/>
                <a:gd name="T94" fmla="*/ 811523 w 377"/>
                <a:gd name="T95" fmla="*/ 136198 h 361"/>
                <a:gd name="T96" fmla="*/ 841829 w 377"/>
                <a:gd name="T97" fmla="*/ 22132 h 3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7"/>
                <a:gd name="T148" fmla="*/ 0 h 361"/>
                <a:gd name="T149" fmla="*/ 377 w 377"/>
                <a:gd name="T150" fmla="*/ 361 h 3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7" h="361">
                  <a:moveTo>
                    <a:pt x="200" y="8"/>
                  </a:moveTo>
                  <a:lnTo>
                    <a:pt x="248" y="0"/>
                  </a:lnTo>
                  <a:lnTo>
                    <a:pt x="264" y="16"/>
                  </a:lnTo>
                  <a:lnTo>
                    <a:pt x="304" y="24"/>
                  </a:lnTo>
                  <a:lnTo>
                    <a:pt x="320" y="16"/>
                  </a:lnTo>
                  <a:lnTo>
                    <a:pt x="336" y="16"/>
                  </a:lnTo>
                  <a:lnTo>
                    <a:pt x="280" y="64"/>
                  </a:lnTo>
                  <a:lnTo>
                    <a:pt x="272" y="88"/>
                  </a:lnTo>
                  <a:lnTo>
                    <a:pt x="280" y="96"/>
                  </a:lnTo>
                  <a:lnTo>
                    <a:pt x="288" y="96"/>
                  </a:lnTo>
                  <a:lnTo>
                    <a:pt x="320" y="128"/>
                  </a:lnTo>
                  <a:lnTo>
                    <a:pt x="352" y="128"/>
                  </a:lnTo>
                  <a:lnTo>
                    <a:pt x="352" y="144"/>
                  </a:lnTo>
                  <a:lnTo>
                    <a:pt x="376" y="152"/>
                  </a:lnTo>
                  <a:lnTo>
                    <a:pt x="376" y="168"/>
                  </a:lnTo>
                  <a:lnTo>
                    <a:pt x="352" y="192"/>
                  </a:lnTo>
                  <a:lnTo>
                    <a:pt x="352" y="176"/>
                  </a:lnTo>
                  <a:lnTo>
                    <a:pt x="328" y="160"/>
                  </a:lnTo>
                  <a:lnTo>
                    <a:pt x="312" y="160"/>
                  </a:lnTo>
                  <a:lnTo>
                    <a:pt x="312" y="208"/>
                  </a:lnTo>
                  <a:lnTo>
                    <a:pt x="304" y="240"/>
                  </a:lnTo>
                  <a:lnTo>
                    <a:pt x="280" y="240"/>
                  </a:lnTo>
                  <a:lnTo>
                    <a:pt x="272" y="248"/>
                  </a:lnTo>
                  <a:lnTo>
                    <a:pt x="288" y="256"/>
                  </a:lnTo>
                  <a:lnTo>
                    <a:pt x="296" y="272"/>
                  </a:lnTo>
                  <a:lnTo>
                    <a:pt x="320" y="288"/>
                  </a:lnTo>
                  <a:lnTo>
                    <a:pt x="344" y="280"/>
                  </a:lnTo>
                  <a:lnTo>
                    <a:pt x="352" y="336"/>
                  </a:lnTo>
                  <a:lnTo>
                    <a:pt x="304" y="360"/>
                  </a:lnTo>
                  <a:lnTo>
                    <a:pt x="296" y="352"/>
                  </a:lnTo>
                  <a:lnTo>
                    <a:pt x="288" y="360"/>
                  </a:lnTo>
                  <a:lnTo>
                    <a:pt x="256" y="360"/>
                  </a:lnTo>
                  <a:lnTo>
                    <a:pt x="240" y="344"/>
                  </a:lnTo>
                  <a:lnTo>
                    <a:pt x="232" y="360"/>
                  </a:lnTo>
                  <a:lnTo>
                    <a:pt x="216" y="344"/>
                  </a:lnTo>
                  <a:lnTo>
                    <a:pt x="216" y="320"/>
                  </a:lnTo>
                  <a:lnTo>
                    <a:pt x="192" y="304"/>
                  </a:lnTo>
                  <a:lnTo>
                    <a:pt x="176" y="312"/>
                  </a:lnTo>
                  <a:lnTo>
                    <a:pt x="160" y="304"/>
                  </a:lnTo>
                  <a:lnTo>
                    <a:pt x="88" y="296"/>
                  </a:lnTo>
                  <a:lnTo>
                    <a:pt x="48" y="232"/>
                  </a:lnTo>
                  <a:lnTo>
                    <a:pt x="16" y="184"/>
                  </a:lnTo>
                  <a:lnTo>
                    <a:pt x="0" y="128"/>
                  </a:lnTo>
                  <a:lnTo>
                    <a:pt x="32" y="128"/>
                  </a:lnTo>
                  <a:lnTo>
                    <a:pt x="112" y="80"/>
                  </a:lnTo>
                  <a:lnTo>
                    <a:pt x="136" y="80"/>
                  </a:lnTo>
                  <a:lnTo>
                    <a:pt x="168" y="80"/>
                  </a:lnTo>
                  <a:lnTo>
                    <a:pt x="192" y="48"/>
                  </a:lnTo>
                  <a:lnTo>
                    <a:pt x="200" y="8"/>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6" name="Freeform 28"/>
            <p:cNvSpPr/>
            <p:nvPr/>
          </p:nvSpPr>
          <p:spPr bwMode="auto">
            <a:xfrm>
              <a:off x="3354448" y="1768309"/>
              <a:ext cx="418956" cy="780952"/>
            </a:xfrm>
            <a:custGeom>
              <a:avLst/>
              <a:gdLst>
                <a:gd name="T0" fmla="*/ 873246 w 249"/>
                <a:gd name="T1" fmla="*/ 965510 h 457"/>
                <a:gd name="T2" fmla="*/ 837912 w 249"/>
                <a:gd name="T3" fmla="*/ 1080004 h 457"/>
                <a:gd name="T4" fmla="*/ 736959 w 249"/>
                <a:gd name="T5" fmla="*/ 1173991 h 457"/>
                <a:gd name="T6" fmla="*/ 570386 w 249"/>
                <a:gd name="T7" fmla="*/ 1150067 h 457"/>
                <a:gd name="T8" fmla="*/ 334828 w 249"/>
                <a:gd name="T9" fmla="*/ 1237219 h 457"/>
                <a:gd name="T10" fmla="*/ 169938 w 249"/>
                <a:gd name="T11" fmla="*/ 1307283 h 457"/>
                <a:gd name="T12" fmla="*/ 33651 w 249"/>
                <a:gd name="T13" fmla="*/ 1307283 h 457"/>
                <a:gd name="T14" fmla="*/ 0 w 249"/>
                <a:gd name="T15" fmla="*/ 1285068 h 457"/>
                <a:gd name="T16" fmla="*/ 68985 w 249"/>
                <a:gd name="T17" fmla="*/ 1103928 h 457"/>
                <a:gd name="T18" fmla="*/ 100953 w 249"/>
                <a:gd name="T19" fmla="*/ 1057788 h 457"/>
                <a:gd name="T20" fmla="*/ 33651 w 249"/>
                <a:gd name="T21" fmla="*/ 941585 h 457"/>
                <a:gd name="T22" fmla="*/ 68985 w 249"/>
                <a:gd name="T23" fmla="*/ 758737 h 457"/>
                <a:gd name="T24" fmla="*/ 100953 w 249"/>
                <a:gd name="T25" fmla="*/ 642534 h 457"/>
                <a:gd name="T26" fmla="*/ 132922 w 249"/>
                <a:gd name="T27" fmla="*/ 596394 h 457"/>
                <a:gd name="T28" fmla="*/ 68985 w 249"/>
                <a:gd name="T29" fmla="*/ 551964 h 457"/>
                <a:gd name="T30" fmla="*/ 132922 w 249"/>
                <a:gd name="T31" fmla="*/ 461394 h 457"/>
                <a:gd name="T32" fmla="*/ 232192 w 249"/>
                <a:gd name="T33" fmla="*/ 322976 h 457"/>
                <a:gd name="T34" fmla="*/ 232192 w 249"/>
                <a:gd name="T35" fmla="*/ 230697 h 457"/>
                <a:gd name="T36" fmla="*/ 301177 w 249"/>
                <a:gd name="T37" fmla="*/ 230697 h 457"/>
                <a:gd name="T38" fmla="*/ 504766 w 249"/>
                <a:gd name="T39" fmla="*/ 70064 h 457"/>
                <a:gd name="T40" fmla="*/ 605720 w 249"/>
                <a:gd name="T41" fmla="*/ 46139 h 457"/>
                <a:gd name="T42" fmla="*/ 708355 w 249"/>
                <a:gd name="T43" fmla="*/ 0 h 457"/>
                <a:gd name="T44" fmla="*/ 736959 w 249"/>
                <a:gd name="T45" fmla="*/ 22215 h 457"/>
                <a:gd name="T46" fmla="*/ 905214 w 249"/>
                <a:gd name="T47" fmla="*/ 0 h 457"/>
                <a:gd name="T48" fmla="*/ 1006167 w 249"/>
                <a:gd name="T49" fmla="*/ 70064 h 457"/>
                <a:gd name="T50" fmla="*/ 905214 w 249"/>
                <a:gd name="T51" fmla="*/ 92279 h 457"/>
                <a:gd name="T52" fmla="*/ 873246 w 249"/>
                <a:gd name="T53" fmla="*/ 136709 h 457"/>
                <a:gd name="T54" fmla="*/ 1006167 w 249"/>
                <a:gd name="T55" fmla="*/ 136709 h 457"/>
                <a:gd name="T56" fmla="*/ 1043184 w 249"/>
                <a:gd name="T57" fmla="*/ 254621 h 457"/>
                <a:gd name="T58" fmla="*/ 975881 w 249"/>
                <a:gd name="T59" fmla="*/ 345191 h 457"/>
                <a:gd name="T60" fmla="*/ 905214 w 249"/>
                <a:gd name="T61" fmla="*/ 299052 h 457"/>
                <a:gd name="T62" fmla="*/ 807626 w 249"/>
                <a:gd name="T63" fmla="*/ 345191 h 457"/>
                <a:gd name="T64" fmla="*/ 837912 w 249"/>
                <a:gd name="T65" fmla="*/ 391330 h 457"/>
                <a:gd name="T66" fmla="*/ 772292 w 249"/>
                <a:gd name="T67" fmla="*/ 461394 h 457"/>
                <a:gd name="T68" fmla="*/ 942230 w 249"/>
                <a:gd name="T69" fmla="*/ 620319 h 457"/>
                <a:gd name="T70" fmla="*/ 807626 w 249"/>
                <a:gd name="T71" fmla="*/ 871522 h 457"/>
                <a:gd name="T72" fmla="*/ 873246 w 249"/>
                <a:gd name="T73" fmla="*/ 965510 h 4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9"/>
                <a:gd name="T112" fmla="*/ 0 h 457"/>
                <a:gd name="T113" fmla="*/ 249 w 249"/>
                <a:gd name="T114" fmla="*/ 457 h 4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9" h="457">
                  <a:moveTo>
                    <a:pt x="208" y="336"/>
                  </a:moveTo>
                  <a:lnTo>
                    <a:pt x="200" y="376"/>
                  </a:lnTo>
                  <a:lnTo>
                    <a:pt x="176" y="408"/>
                  </a:lnTo>
                  <a:lnTo>
                    <a:pt x="136" y="400"/>
                  </a:lnTo>
                  <a:lnTo>
                    <a:pt x="80" y="432"/>
                  </a:lnTo>
                  <a:lnTo>
                    <a:pt x="40" y="456"/>
                  </a:lnTo>
                  <a:lnTo>
                    <a:pt x="8" y="456"/>
                  </a:lnTo>
                  <a:lnTo>
                    <a:pt x="0" y="448"/>
                  </a:lnTo>
                  <a:lnTo>
                    <a:pt x="16" y="384"/>
                  </a:lnTo>
                  <a:lnTo>
                    <a:pt x="24" y="368"/>
                  </a:lnTo>
                  <a:lnTo>
                    <a:pt x="8" y="328"/>
                  </a:lnTo>
                  <a:lnTo>
                    <a:pt x="16" y="264"/>
                  </a:lnTo>
                  <a:lnTo>
                    <a:pt x="24" y="224"/>
                  </a:lnTo>
                  <a:lnTo>
                    <a:pt x="32" y="208"/>
                  </a:lnTo>
                  <a:lnTo>
                    <a:pt x="16" y="192"/>
                  </a:lnTo>
                  <a:lnTo>
                    <a:pt x="32" y="160"/>
                  </a:lnTo>
                  <a:lnTo>
                    <a:pt x="56" y="112"/>
                  </a:lnTo>
                  <a:lnTo>
                    <a:pt x="56" y="80"/>
                  </a:lnTo>
                  <a:lnTo>
                    <a:pt x="72" y="80"/>
                  </a:lnTo>
                  <a:lnTo>
                    <a:pt x="120" y="24"/>
                  </a:lnTo>
                  <a:lnTo>
                    <a:pt x="144" y="16"/>
                  </a:lnTo>
                  <a:lnTo>
                    <a:pt x="168" y="0"/>
                  </a:lnTo>
                  <a:lnTo>
                    <a:pt x="176" y="8"/>
                  </a:lnTo>
                  <a:lnTo>
                    <a:pt x="216" y="0"/>
                  </a:lnTo>
                  <a:lnTo>
                    <a:pt x="240" y="24"/>
                  </a:lnTo>
                  <a:lnTo>
                    <a:pt x="216" y="32"/>
                  </a:lnTo>
                  <a:lnTo>
                    <a:pt x="208" y="48"/>
                  </a:lnTo>
                  <a:lnTo>
                    <a:pt x="240" y="48"/>
                  </a:lnTo>
                  <a:lnTo>
                    <a:pt x="248" y="88"/>
                  </a:lnTo>
                  <a:lnTo>
                    <a:pt x="232" y="120"/>
                  </a:lnTo>
                  <a:lnTo>
                    <a:pt x="216" y="104"/>
                  </a:lnTo>
                  <a:lnTo>
                    <a:pt x="192" y="120"/>
                  </a:lnTo>
                  <a:lnTo>
                    <a:pt x="200" y="136"/>
                  </a:lnTo>
                  <a:lnTo>
                    <a:pt x="184" y="160"/>
                  </a:lnTo>
                  <a:lnTo>
                    <a:pt x="224" y="216"/>
                  </a:lnTo>
                  <a:lnTo>
                    <a:pt x="192" y="304"/>
                  </a:lnTo>
                  <a:lnTo>
                    <a:pt x="208" y="336"/>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7" name="Freeform 29"/>
            <p:cNvSpPr/>
            <p:nvPr/>
          </p:nvSpPr>
          <p:spPr bwMode="auto">
            <a:xfrm>
              <a:off x="2908870" y="1903859"/>
              <a:ext cx="540859" cy="1038189"/>
            </a:xfrm>
            <a:custGeom>
              <a:avLst/>
              <a:gdLst>
                <a:gd name="T0" fmla="*/ 1358045 w 321"/>
                <a:gd name="T1" fmla="*/ 1358681 h 609"/>
                <a:gd name="T2" fmla="*/ 1253580 w 321"/>
                <a:gd name="T3" fmla="*/ 1406414 h 609"/>
                <a:gd name="T4" fmla="*/ 1187868 w 321"/>
                <a:gd name="T5" fmla="*/ 1382547 h 609"/>
                <a:gd name="T6" fmla="*/ 946924 w 321"/>
                <a:gd name="T7" fmla="*/ 1382547 h 609"/>
                <a:gd name="T8" fmla="*/ 1019376 w 321"/>
                <a:gd name="T9" fmla="*/ 1471194 h 609"/>
                <a:gd name="T10" fmla="*/ 946924 w 321"/>
                <a:gd name="T11" fmla="*/ 1585412 h 609"/>
                <a:gd name="T12" fmla="*/ 982308 w 321"/>
                <a:gd name="T13" fmla="*/ 1721791 h 609"/>
                <a:gd name="T14" fmla="*/ 847514 w 321"/>
                <a:gd name="T15" fmla="*/ 1697925 h 609"/>
                <a:gd name="T16" fmla="*/ 647009 w 321"/>
                <a:gd name="T17" fmla="*/ 1607573 h 609"/>
                <a:gd name="T18" fmla="*/ 404381 w 321"/>
                <a:gd name="T19" fmla="*/ 1561545 h 609"/>
                <a:gd name="T20" fmla="*/ 237574 w 321"/>
                <a:gd name="T21" fmla="*/ 1471194 h 609"/>
                <a:gd name="T22" fmla="*/ 69082 w 321"/>
                <a:gd name="T23" fmla="*/ 1471194 h 609"/>
                <a:gd name="T24" fmla="*/ 69082 w 321"/>
                <a:gd name="T25" fmla="*/ 1450737 h 609"/>
                <a:gd name="T26" fmla="*/ 0 w 321"/>
                <a:gd name="T27" fmla="*/ 1428575 h 609"/>
                <a:gd name="T28" fmla="*/ 33698 w 321"/>
                <a:gd name="T29" fmla="*/ 1406414 h 609"/>
                <a:gd name="T30" fmla="*/ 33698 w 321"/>
                <a:gd name="T31" fmla="*/ 1336519 h 609"/>
                <a:gd name="T32" fmla="*/ 0 w 321"/>
                <a:gd name="T33" fmla="*/ 1314358 h 609"/>
                <a:gd name="T34" fmla="*/ 69082 w 321"/>
                <a:gd name="T35" fmla="*/ 1292196 h 609"/>
                <a:gd name="T36" fmla="*/ 203875 w 321"/>
                <a:gd name="T37" fmla="*/ 1292196 h 609"/>
                <a:gd name="T38" fmla="*/ 203875 w 321"/>
                <a:gd name="T39" fmla="*/ 975113 h 609"/>
                <a:gd name="T40" fmla="*/ 372367 w 321"/>
                <a:gd name="T41" fmla="*/ 975113 h 609"/>
                <a:gd name="T42" fmla="*/ 372367 w 321"/>
                <a:gd name="T43" fmla="*/ 1017732 h 609"/>
                <a:gd name="T44" fmla="*/ 473462 w 321"/>
                <a:gd name="T45" fmla="*/ 1017732 h 609"/>
                <a:gd name="T46" fmla="*/ 473462 w 321"/>
                <a:gd name="T47" fmla="*/ 929085 h 609"/>
                <a:gd name="T48" fmla="*/ 677337 w 321"/>
                <a:gd name="T49" fmla="*/ 929085 h 609"/>
                <a:gd name="T50" fmla="*/ 711036 w 321"/>
                <a:gd name="T51" fmla="*/ 794411 h 609"/>
                <a:gd name="T52" fmla="*/ 711036 w 321"/>
                <a:gd name="T53" fmla="*/ 700650 h 609"/>
                <a:gd name="T54" fmla="*/ 609941 w 321"/>
                <a:gd name="T55" fmla="*/ 656326 h 609"/>
                <a:gd name="T56" fmla="*/ 473462 w 321"/>
                <a:gd name="T57" fmla="*/ 588137 h 609"/>
                <a:gd name="T58" fmla="*/ 404381 w 321"/>
                <a:gd name="T59" fmla="*/ 523356 h 609"/>
                <a:gd name="T60" fmla="*/ 438079 w 321"/>
                <a:gd name="T61" fmla="*/ 407434 h 609"/>
                <a:gd name="T62" fmla="*/ 507161 w 321"/>
                <a:gd name="T63" fmla="*/ 364815 h 609"/>
                <a:gd name="T64" fmla="*/ 609941 w 321"/>
                <a:gd name="T65" fmla="*/ 407434 h 609"/>
                <a:gd name="T66" fmla="*/ 748104 w 321"/>
                <a:gd name="T67" fmla="*/ 407434 h 609"/>
                <a:gd name="T68" fmla="*/ 780117 w 321"/>
                <a:gd name="T69" fmla="*/ 339244 h 609"/>
                <a:gd name="T70" fmla="*/ 847514 w 321"/>
                <a:gd name="T71" fmla="*/ 339244 h 609"/>
                <a:gd name="T72" fmla="*/ 813816 w 321"/>
                <a:gd name="T73" fmla="*/ 247188 h 609"/>
                <a:gd name="T74" fmla="*/ 1048020 w 321"/>
                <a:gd name="T75" fmla="*/ 90351 h 609"/>
                <a:gd name="T76" fmla="*/ 1048020 w 321"/>
                <a:gd name="T77" fmla="*/ 46028 h 609"/>
                <a:gd name="T78" fmla="*/ 1187868 w 321"/>
                <a:gd name="T79" fmla="*/ 46028 h 609"/>
                <a:gd name="T80" fmla="*/ 1218196 w 321"/>
                <a:gd name="T81" fmla="*/ 69894 h 609"/>
                <a:gd name="T82" fmla="*/ 1253580 w 321"/>
                <a:gd name="T83" fmla="*/ 22162 h 609"/>
                <a:gd name="T84" fmla="*/ 1288963 w 321"/>
                <a:gd name="T85" fmla="*/ 0 h 609"/>
                <a:gd name="T86" fmla="*/ 1358045 w 321"/>
                <a:gd name="T87" fmla="*/ 69894 h 609"/>
                <a:gd name="T88" fmla="*/ 1358045 w 321"/>
                <a:gd name="T89" fmla="*/ 90351 h 609"/>
                <a:gd name="T90" fmla="*/ 1187868 w 321"/>
                <a:gd name="T91" fmla="*/ 317082 h 609"/>
                <a:gd name="T92" fmla="*/ 1253580 w 321"/>
                <a:gd name="T93" fmla="*/ 364815 h 609"/>
                <a:gd name="T94" fmla="*/ 1187868 w 321"/>
                <a:gd name="T95" fmla="*/ 523356 h 609"/>
                <a:gd name="T96" fmla="*/ 1152485 w 321"/>
                <a:gd name="T97" fmla="*/ 700650 h 609"/>
                <a:gd name="T98" fmla="*/ 1218196 w 321"/>
                <a:gd name="T99" fmla="*/ 816572 h 609"/>
                <a:gd name="T100" fmla="*/ 1117101 w 321"/>
                <a:gd name="T101" fmla="*/ 1017732 h 609"/>
                <a:gd name="T102" fmla="*/ 1152485 w 321"/>
                <a:gd name="T103" fmla="*/ 1062055 h 609"/>
                <a:gd name="T104" fmla="*/ 1218196 w 321"/>
                <a:gd name="T105" fmla="*/ 1220597 h 609"/>
                <a:gd name="T106" fmla="*/ 1358045 w 321"/>
                <a:gd name="T107" fmla="*/ 1358681 h 6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1"/>
                <a:gd name="T163" fmla="*/ 0 h 609"/>
                <a:gd name="T164" fmla="*/ 321 w 321"/>
                <a:gd name="T165" fmla="*/ 609 h 6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1" h="609">
                  <a:moveTo>
                    <a:pt x="320" y="480"/>
                  </a:moveTo>
                  <a:lnTo>
                    <a:pt x="296" y="496"/>
                  </a:lnTo>
                  <a:lnTo>
                    <a:pt x="280" y="488"/>
                  </a:lnTo>
                  <a:lnTo>
                    <a:pt x="224" y="488"/>
                  </a:lnTo>
                  <a:lnTo>
                    <a:pt x="240" y="520"/>
                  </a:lnTo>
                  <a:lnTo>
                    <a:pt x="224" y="560"/>
                  </a:lnTo>
                  <a:lnTo>
                    <a:pt x="232" y="608"/>
                  </a:lnTo>
                  <a:lnTo>
                    <a:pt x="200" y="600"/>
                  </a:lnTo>
                  <a:lnTo>
                    <a:pt x="152" y="568"/>
                  </a:lnTo>
                  <a:lnTo>
                    <a:pt x="96" y="552"/>
                  </a:lnTo>
                  <a:lnTo>
                    <a:pt x="56" y="520"/>
                  </a:lnTo>
                  <a:lnTo>
                    <a:pt x="16" y="520"/>
                  </a:lnTo>
                  <a:lnTo>
                    <a:pt x="16" y="512"/>
                  </a:lnTo>
                  <a:lnTo>
                    <a:pt x="0" y="504"/>
                  </a:lnTo>
                  <a:lnTo>
                    <a:pt x="8" y="496"/>
                  </a:lnTo>
                  <a:lnTo>
                    <a:pt x="8" y="472"/>
                  </a:lnTo>
                  <a:lnTo>
                    <a:pt x="0" y="464"/>
                  </a:lnTo>
                  <a:lnTo>
                    <a:pt x="16" y="456"/>
                  </a:lnTo>
                  <a:lnTo>
                    <a:pt x="48" y="456"/>
                  </a:lnTo>
                  <a:lnTo>
                    <a:pt x="48" y="344"/>
                  </a:lnTo>
                  <a:lnTo>
                    <a:pt x="88" y="344"/>
                  </a:lnTo>
                  <a:lnTo>
                    <a:pt x="88" y="360"/>
                  </a:lnTo>
                  <a:lnTo>
                    <a:pt x="112" y="360"/>
                  </a:lnTo>
                  <a:lnTo>
                    <a:pt x="112" y="328"/>
                  </a:lnTo>
                  <a:lnTo>
                    <a:pt x="160" y="328"/>
                  </a:lnTo>
                  <a:lnTo>
                    <a:pt x="168" y="280"/>
                  </a:lnTo>
                  <a:lnTo>
                    <a:pt x="168" y="248"/>
                  </a:lnTo>
                  <a:lnTo>
                    <a:pt x="144" y="232"/>
                  </a:lnTo>
                  <a:lnTo>
                    <a:pt x="112" y="208"/>
                  </a:lnTo>
                  <a:lnTo>
                    <a:pt x="96" y="184"/>
                  </a:lnTo>
                  <a:lnTo>
                    <a:pt x="104" y="144"/>
                  </a:lnTo>
                  <a:lnTo>
                    <a:pt x="120" y="128"/>
                  </a:lnTo>
                  <a:lnTo>
                    <a:pt x="144" y="144"/>
                  </a:lnTo>
                  <a:lnTo>
                    <a:pt x="176" y="144"/>
                  </a:lnTo>
                  <a:lnTo>
                    <a:pt x="184" y="120"/>
                  </a:lnTo>
                  <a:lnTo>
                    <a:pt x="200" y="120"/>
                  </a:lnTo>
                  <a:lnTo>
                    <a:pt x="192" y="88"/>
                  </a:lnTo>
                  <a:lnTo>
                    <a:pt x="248" y="32"/>
                  </a:lnTo>
                  <a:lnTo>
                    <a:pt x="248" y="16"/>
                  </a:lnTo>
                  <a:lnTo>
                    <a:pt x="280" y="16"/>
                  </a:lnTo>
                  <a:lnTo>
                    <a:pt x="288" y="24"/>
                  </a:lnTo>
                  <a:lnTo>
                    <a:pt x="296" y="8"/>
                  </a:lnTo>
                  <a:lnTo>
                    <a:pt x="304" y="0"/>
                  </a:lnTo>
                  <a:lnTo>
                    <a:pt x="320" y="24"/>
                  </a:lnTo>
                  <a:lnTo>
                    <a:pt x="320" y="32"/>
                  </a:lnTo>
                  <a:lnTo>
                    <a:pt x="280" y="112"/>
                  </a:lnTo>
                  <a:lnTo>
                    <a:pt x="296" y="128"/>
                  </a:lnTo>
                  <a:lnTo>
                    <a:pt x="280" y="184"/>
                  </a:lnTo>
                  <a:lnTo>
                    <a:pt x="272" y="248"/>
                  </a:lnTo>
                  <a:lnTo>
                    <a:pt x="288" y="288"/>
                  </a:lnTo>
                  <a:lnTo>
                    <a:pt x="264" y="360"/>
                  </a:lnTo>
                  <a:lnTo>
                    <a:pt x="272" y="376"/>
                  </a:lnTo>
                  <a:lnTo>
                    <a:pt x="288" y="432"/>
                  </a:lnTo>
                  <a:lnTo>
                    <a:pt x="320" y="480"/>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8" name="Freeform 30"/>
            <p:cNvSpPr/>
            <p:nvPr/>
          </p:nvSpPr>
          <p:spPr bwMode="auto">
            <a:xfrm>
              <a:off x="2807984" y="1917722"/>
              <a:ext cx="295651" cy="534498"/>
            </a:xfrm>
            <a:custGeom>
              <a:avLst/>
              <a:gdLst>
                <a:gd name="T0" fmla="*/ 706556 w 177"/>
                <a:gd name="T1" fmla="*/ 343240 h 313"/>
                <a:gd name="T2" fmla="*/ 644753 w 177"/>
                <a:gd name="T3" fmla="*/ 295425 h 313"/>
                <a:gd name="T4" fmla="*/ 481059 w 177"/>
                <a:gd name="T5" fmla="*/ 254442 h 313"/>
                <a:gd name="T6" fmla="*/ 546203 w 177"/>
                <a:gd name="T7" fmla="*/ 90506 h 313"/>
                <a:gd name="T8" fmla="*/ 516136 w 177"/>
                <a:gd name="T9" fmla="*/ 0 h 313"/>
                <a:gd name="T10" fmla="*/ 292310 w 177"/>
                <a:gd name="T11" fmla="*/ 158813 h 313"/>
                <a:gd name="T12" fmla="*/ 257233 w 177"/>
                <a:gd name="T13" fmla="*/ 319333 h 313"/>
                <a:gd name="T14" fmla="*/ 162023 w 177"/>
                <a:gd name="T15" fmla="*/ 343240 h 313"/>
                <a:gd name="T16" fmla="*/ 33407 w 177"/>
                <a:gd name="T17" fmla="*/ 411546 h 313"/>
                <a:gd name="T18" fmla="*/ 0 w 177"/>
                <a:gd name="T19" fmla="*/ 478145 h 313"/>
                <a:gd name="T20" fmla="*/ 162023 w 177"/>
                <a:gd name="T21" fmla="*/ 549867 h 313"/>
                <a:gd name="T22" fmla="*/ 162023 w 177"/>
                <a:gd name="T23" fmla="*/ 640373 h 313"/>
                <a:gd name="T24" fmla="*/ 193760 w 177"/>
                <a:gd name="T25" fmla="*/ 686480 h 313"/>
                <a:gd name="T26" fmla="*/ 162023 w 177"/>
                <a:gd name="T27" fmla="*/ 754786 h 313"/>
                <a:gd name="T28" fmla="*/ 193760 w 177"/>
                <a:gd name="T29" fmla="*/ 799186 h 313"/>
                <a:gd name="T30" fmla="*/ 384179 w 177"/>
                <a:gd name="T31" fmla="*/ 893107 h 313"/>
                <a:gd name="T32" fmla="*/ 454334 w 177"/>
                <a:gd name="T33" fmla="*/ 893107 h 313"/>
                <a:gd name="T34" fmla="*/ 454334 w 177"/>
                <a:gd name="T35" fmla="*/ 848708 h 313"/>
                <a:gd name="T36" fmla="*/ 516136 w 177"/>
                <a:gd name="T37" fmla="*/ 778694 h 313"/>
                <a:gd name="T38" fmla="*/ 481059 w 177"/>
                <a:gd name="T39" fmla="*/ 686480 h 313"/>
                <a:gd name="T40" fmla="*/ 454334 w 177"/>
                <a:gd name="T41" fmla="*/ 686480 h 313"/>
                <a:gd name="T42" fmla="*/ 417586 w 177"/>
                <a:gd name="T43" fmla="*/ 595974 h 313"/>
                <a:gd name="T44" fmla="*/ 481059 w 177"/>
                <a:gd name="T45" fmla="*/ 595974 h 313"/>
                <a:gd name="T46" fmla="*/ 481059 w 177"/>
                <a:gd name="T47" fmla="*/ 502052 h 313"/>
                <a:gd name="T48" fmla="*/ 546203 w 177"/>
                <a:gd name="T49" fmla="*/ 502052 h 313"/>
                <a:gd name="T50" fmla="*/ 609676 w 177"/>
                <a:gd name="T51" fmla="*/ 525960 h 313"/>
                <a:gd name="T52" fmla="*/ 644753 w 177"/>
                <a:gd name="T53" fmla="*/ 387639 h 313"/>
                <a:gd name="T54" fmla="*/ 706556 w 177"/>
                <a:gd name="T55" fmla="*/ 343240 h 3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77"/>
                <a:gd name="T85" fmla="*/ 0 h 313"/>
                <a:gd name="T86" fmla="*/ 177 w 177"/>
                <a:gd name="T87" fmla="*/ 313 h 3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77" h="313">
                  <a:moveTo>
                    <a:pt x="176" y="120"/>
                  </a:moveTo>
                  <a:lnTo>
                    <a:pt x="160" y="104"/>
                  </a:lnTo>
                  <a:lnTo>
                    <a:pt x="120" y="88"/>
                  </a:lnTo>
                  <a:lnTo>
                    <a:pt x="136" y="32"/>
                  </a:lnTo>
                  <a:lnTo>
                    <a:pt x="128" y="0"/>
                  </a:lnTo>
                  <a:lnTo>
                    <a:pt x="72" y="56"/>
                  </a:lnTo>
                  <a:lnTo>
                    <a:pt x="64" y="112"/>
                  </a:lnTo>
                  <a:lnTo>
                    <a:pt x="40" y="120"/>
                  </a:lnTo>
                  <a:lnTo>
                    <a:pt x="8" y="144"/>
                  </a:lnTo>
                  <a:lnTo>
                    <a:pt x="0" y="168"/>
                  </a:lnTo>
                  <a:lnTo>
                    <a:pt x="40" y="192"/>
                  </a:lnTo>
                  <a:lnTo>
                    <a:pt x="40" y="224"/>
                  </a:lnTo>
                  <a:lnTo>
                    <a:pt x="48" y="240"/>
                  </a:lnTo>
                  <a:lnTo>
                    <a:pt x="40" y="264"/>
                  </a:lnTo>
                  <a:lnTo>
                    <a:pt x="48" y="280"/>
                  </a:lnTo>
                  <a:lnTo>
                    <a:pt x="96" y="312"/>
                  </a:lnTo>
                  <a:lnTo>
                    <a:pt x="112" y="312"/>
                  </a:lnTo>
                  <a:lnTo>
                    <a:pt x="112" y="296"/>
                  </a:lnTo>
                  <a:lnTo>
                    <a:pt x="128" y="272"/>
                  </a:lnTo>
                  <a:lnTo>
                    <a:pt x="120" y="240"/>
                  </a:lnTo>
                  <a:lnTo>
                    <a:pt x="112" y="240"/>
                  </a:lnTo>
                  <a:lnTo>
                    <a:pt x="104" y="208"/>
                  </a:lnTo>
                  <a:lnTo>
                    <a:pt x="120" y="208"/>
                  </a:lnTo>
                  <a:lnTo>
                    <a:pt x="120" y="176"/>
                  </a:lnTo>
                  <a:lnTo>
                    <a:pt x="136" y="176"/>
                  </a:lnTo>
                  <a:lnTo>
                    <a:pt x="152" y="184"/>
                  </a:lnTo>
                  <a:lnTo>
                    <a:pt x="160" y="136"/>
                  </a:lnTo>
                  <a:lnTo>
                    <a:pt x="176" y="120"/>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49" name="Freeform 31"/>
            <p:cNvSpPr/>
            <p:nvPr/>
          </p:nvSpPr>
          <p:spPr bwMode="auto">
            <a:xfrm>
              <a:off x="1750086" y="1386305"/>
              <a:ext cx="1443225" cy="1434056"/>
            </a:xfrm>
            <a:custGeom>
              <a:avLst/>
              <a:gdLst>
                <a:gd name="T0" fmla="*/ 2667524 w 857"/>
                <a:gd name="T1" fmla="*/ 1360733 h 841"/>
                <a:gd name="T2" fmla="*/ 2839297 w 857"/>
                <a:gd name="T3" fmla="*/ 1517610 h 841"/>
                <a:gd name="T4" fmla="*/ 2839297 w 857"/>
                <a:gd name="T5" fmla="*/ 1607984 h 841"/>
                <a:gd name="T6" fmla="*/ 3110428 w 857"/>
                <a:gd name="T7" fmla="*/ 1769976 h 841"/>
                <a:gd name="T8" fmla="*/ 3140741 w 857"/>
                <a:gd name="T9" fmla="*/ 1700064 h 841"/>
                <a:gd name="T10" fmla="*/ 3174421 w 857"/>
                <a:gd name="T11" fmla="*/ 1563650 h 841"/>
                <a:gd name="T12" fmla="*/ 3110428 w 857"/>
                <a:gd name="T13" fmla="*/ 1476685 h 841"/>
                <a:gd name="T14" fmla="*/ 3174421 w 857"/>
                <a:gd name="T15" fmla="*/ 1382901 h 841"/>
                <a:gd name="T16" fmla="*/ 3376507 w 857"/>
                <a:gd name="T17" fmla="*/ 1451108 h 841"/>
                <a:gd name="T18" fmla="*/ 3617325 w 857"/>
                <a:gd name="T19" fmla="*/ 1563650 h 841"/>
                <a:gd name="T20" fmla="*/ 3376507 w 857"/>
                <a:gd name="T21" fmla="*/ 1793849 h 841"/>
                <a:gd name="T22" fmla="*/ 3277148 w 857"/>
                <a:gd name="T23" fmla="*/ 1882518 h 841"/>
                <a:gd name="T24" fmla="*/ 3110428 w 857"/>
                <a:gd name="T25" fmla="*/ 1836478 h 841"/>
                <a:gd name="T26" fmla="*/ 2974020 w 857"/>
                <a:gd name="T27" fmla="*/ 2131474 h 841"/>
                <a:gd name="T28" fmla="*/ 2938655 w 857"/>
                <a:gd name="T29" fmla="*/ 2201387 h 841"/>
                <a:gd name="T30" fmla="*/ 2906659 w 857"/>
                <a:gd name="T31" fmla="*/ 2290056 h 841"/>
                <a:gd name="T32" fmla="*/ 2667524 w 857"/>
                <a:gd name="T33" fmla="*/ 2382136 h 841"/>
                <a:gd name="T34" fmla="*/ 2504172 w 857"/>
                <a:gd name="T35" fmla="*/ 2153642 h 841"/>
                <a:gd name="T36" fmla="*/ 2433442 w 857"/>
                <a:gd name="T37" fmla="*/ 2131474 h 841"/>
                <a:gd name="T38" fmla="*/ 2229673 w 857"/>
                <a:gd name="T39" fmla="*/ 1971188 h 841"/>
                <a:gd name="T40" fmla="*/ 2094950 w 857"/>
                <a:gd name="T41" fmla="*/ 2015522 h 841"/>
                <a:gd name="T42" fmla="*/ 2061269 w 857"/>
                <a:gd name="T43" fmla="*/ 2063267 h 841"/>
                <a:gd name="T44" fmla="*/ 2025904 w 857"/>
                <a:gd name="T45" fmla="*/ 2201387 h 841"/>
                <a:gd name="T46" fmla="*/ 1961910 w 857"/>
                <a:gd name="T47" fmla="*/ 2111012 h 841"/>
                <a:gd name="T48" fmla="*/ 1756457 w 857"/>
                <a:gd name="T49" fmla="*/ 2063267 h 841"/>
                <a:gd name="T50" fmla="*/ 1722776 w 857"/>
                <a:gd name="T51" fmla="*/ 1952431 h 841"/>
                <a:gd name="T52" fmla="*/ 1926545 w 857"/>
                <a:gd name="T53" fmla="*/ 1971188 h 841"/>
                <a:gd name="T54" fmla="*/ 2061269 w 857"/>
                <a:gd name="T55" fmla="*/ 1906391 h 841"/>
                <a:gd name="T56" fmla="*/ 1961910 w 857"/>
                <a:gd name="T57" fmla="*/ 1814311 h 841"/>
                <a:gd name="T58" fmla="*/ 2128631 w 857"/>
                <a:gd name="T59" fmla="*/ 1700064 h 841"/>
                <a:gd name="T60" fmla="*/ 2263354 w 857"/>
                <a:gd name="T61" fmla="*/ 1607984 h 841"/>
                <a:gd name="T62" fmla="*/ 2025904 w 857"/>
                <a:gd name="T63" fmla="*/ 1157817 h 841"/>
                <a:gd name="T64" fmla="*/ 1722776 w 857"/>
                <a:gd name="T65" fmla="*/ 1021403 h 841"/>
                <a:gd name="T66" fmla="*/ 1449961 w 857"/>
                <a:gd name="T67" fmla="*/ 953195 h 841"/>
                <a:gd name="T68" fmla="*/ 1183882 w 857"/>
                <a:gd name="T69" fmla="*/ 883283 h 841"/>
                <a:gd name="T70" fmla="*/ 879071 w 857"/>
                <a:gd name="T71" fmla="*/ 953195 h 841"/>
                <a:gd name="T72" fmla="*/ 203769 w 857"/>
                <a:gd name="T73" fmla="*/ 680367 h 841"/>
                <a:gd name="T74" fmla="*/ 33681 w 857"/>
                <a:gd name="T75" fmla="*/ 453578 h 841"/>
                <a:gd name="T76" fmla="*/ 203769 w 857"/>
                <a:gd name="T77" fmla="*/ 429705 h 841"/>
                <a:gd name="T78" fmla="*/ 473216 w 857"/>
                <a:gd name="T79" fmla="*/ 271124 h 841"/>
                <a:gd name="T80" fmla="*/ 574259 w 857"/>
                <a:gd name="T81" fmla="*/ 180749 h 841"/>
                <a:gd name="T82" fmla="*/ 912751 w 857"/>
                <a:gd name="T83" fmla="*/ 90375 h 841"/>
                <a:gd name="T84" fmla="*/ 980113 w 857"/>
                <a:gd name="T85" fmla="*/ 0 h 841"/>
                <a:gd name="T86" fmla="*/ 1215879 w 857"/>
                <a:gd name="T87" fmla="*/ 208032 h 841"/>
                <a:gd name="T88" fmla="*/ 1251244 w 857"/>
                <a:gd name="T89" fmla="*/ 364908 h 841"/>
                <a:gd name="T90" fmla="*/ 1316922 w 857"/>
                <a:gd name="T91" fmla="*/ 499618 h 841"/>
                <a:gd name="T92" fmla="*/ 1421332 w 857"/>
                <a:gd name="T93" fmla="*/ 545657 h 841"/>
                <a:gd name="T94" fmla="*/ 1722776 w 857"/>
                <a:gd name="T95" fmla="*/ 499618 h 841"/>
                <a:gd name="T96" fmla="*/ 1722776 w 857"/>
                <a:gd name="T97" fmla="*/ 612159 h 841"/>
                <a:gd name="T98" fmla="*/ 1623418 w 857"/>
                <a:gd name="T99" fmla="*/ 722996 h 841"/>
                <a:gd name="T100" fmla="*/ 1823819 w 857"/>
                <a:gd name="T101" fmla="*/ 931028 h 841"/>
                <a:gd name="T102" fmla="*/ 2094950 w 857"/>
                <a:gd name="T103" fmla="*/ 975363 h 841"/>
                <a:gd name="T104" fmla="*/ 2229673 w 857"/>
                <a:gd name="T105" fmla="*/ 905450 h 841"/>
                <a:gd name="T106" fmla="*/ 2467123 w 857"/>
                <a:gd name="T107" fmla="*/ 905450 h 841"/>
                <a:gd name="T108" fmla="*/ 2635528 w 857"/>
                <a:gd name="T109" fmla="*/ 953195 h 841"/>
                <a:gd name="T110" fmla="*/ 2433442 w 857"/>
                <a:gd name="T111" fmla="*/ 1110072 h 841"/>
                <a:gd name="T112" fmla="*/ 2534485 w 857"/>
                <a:gd name="T113" fmla="*/ 1292526 h 8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57"/>
                <a:gd name="T172" fmla="*/ 0 h 841"/>
                <a:gd name="T173" fmla="*/ 857 w 857"/>
                <a:gd name="T174" fmla="*/ 841 h 84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57" h="841">
                  <a:moveTo>
                    <a:pt x="640" y="456"/>
                  </a:moveTo>
                  <a:lnTo>
                    <a:pt x="632" y="480"/>
                  </a:lnTo>
                  <a:lnTo>
                    <a:pt x="680" y="504"/>
                  </a:lnTo>
                  <a:lnTo>
                    <a:pt x="672" y="536"/>
                  </a:lnTo>
                  <a:lnTo>
                    <a:pt x="680" y="544"/>
                  </a:lnTo>
                  <a:lnTo>
                    <a:pt x="672" y="568"/>
                  </a:lnTo>
                  <a:lnTo>
                    <a:pt x="680" y="592"/>
                  </a:lnTo>
                  <a:lnTo>
                    <a:pt x="736" y="624"/>
                  </a:lnTo>
                  <a:lnTo>
                    <a:pt x="744" y="624"/>
                  </a:lnTo>
                  <a:lnTo>
                    <a:pt x="744" y="600"/>
                  </a:lnTo>
                  <a:lnTo>
                    <a:pt x="760" y="584"/>
                  </a:lnTo>
                  <a:lnTo>
                    <a:pt x="752" y="552"/>
                  </a:lnTo>
                  <a:lnTo>
                    <a:pt x="736" y="544"/>
                  </a:lnTo>
                  <a:lnTo>
                    <a:pt x="736" y="520"/>
                  </a:lnTo>
                  <a:lnTo>
                    <a:pt x="752" y="520"/>
                  </a:lnTo>
                  <a:lnTo>
                    <a:pt x="752" y="488"/>
                  </a:lnTo>
                  <a:lnTo>
                    <a:pt x="784" y="496"/>
                  </a:lnTo>
                  <a:lnTo>
                    <a:pt x="800" y="512"/>
                  </a:lnTo>
                  <a:lnTo>
                    <a:pt x="840" y="536"/>
                  </a:lnTo>
                  <a:lnTo>
                    <a:pt x="856" y="552"/>
                  </a:lnTo>
                  <a:lnTo>
                    <a:pt x="848" y="632"/>
                  </a:lnTo>
                  <a:lnTo>
                    <a:pt x="800" y="632"/>
                  </a:lnTo>
                  <a:lnTo>
                    <a:pt x="800" y="664"/>
                  </a:lnTo>
                  <a:lnTo>
                    <a:pt x="776" y="664"/>
                  </a:lnTo>
                  <a:lnTo>
                    <a:pt x="776" y="648"/>
                  </a:lnTo>
                  <a:lnTo>
                    <a:pt x="736" y="648"/>
                  </a:lnTo>
                  <a:lnTo>
                    <a:pt x="736" y="760"/>
                  </a:lnTo>
                  <a:lnTo>
                    <a:pt x="704" y="752"/>
                  </a:lnTo>
                  <a:lnTo>
                    <a:pt x="688" y="768"/>
                  </a:lnTo>
                  <a:lnTo>
                    <a:pt x="696" y="776"/>
                  </a:lnTo>
                  <a:lnTo>
                    <a:pt x="704" y="800"/>
                  </a:lnTo>
                  <a:lnTo>
                    <a:pt x="688" y="808"/>
                  </a:lnTo>
                  <a:lnTo>
                    <a:pt x="664" y="840"/>
                  </a:lnTo>
                  <a:lnTo>
                    <a:pt x="632" y="840"/>
                  </a:lnTo>
                  <a:lnTo>
                    <a:pt x="608" y="816"/>
                  </a:lnTo>
                  <a:lnTo>
                    <a:pt x="592" y="760"/>
                  </a:lnTo>
                  <a:lnTo>
                    <a:pt x="592" y="752"/>
                  </a:lnTo>
                  <a:lnTo>
                    <a:pt x="576" y="752"/>
                  </a:lnTo>
                  <a:lnTo>
                    <a:pt x="544" y="736"/>
                  </a:lnTo>
                  <a:lnTo>
                    <a:pt x="528" y="696"/>
                  </a:lnTo>
                  <a:lnTo>
                    <a:pt x="512" y="704"/>
                  </a:lnTo>
                  <a:lnTo>
                    <a:pt x="496" y="712"/>
                  </a:lnTo>
                  <a:lnTo>
                    <a:pt x="488" y="712"/>
                  </a:lnTo>
                  <a:lnTo>
                    <a:pt x="488" y="728"/>
                  </a:lnTo>
                  <a:lnTo>
                    <a:pt x="496" y="752"/>
                  </a:lnTo>
                  <a:lnTo>
                    <a:pt x="480" y="776"/>
                  </a:lnTo>
                  <a:lnTo>
                    <a:pt x="448" y="768"/>
                  </a:lnTo>
                  <a:lnTo>
                    <a:pt x="464" y="744"/>
                  </a:lnTo>
                  <a:lnTo>
                    <a:pt x="448" y="736"/>
                  </a:lnTo>
                  <a:lnTo>
                    <a:pt x="416" y="728"/>
                  </a:lnTo>
                  <a:lnTo>
                    <a:pt x="400" y="704"/>
                  </a:lnTo>
                  <a:lnTo>
                    <a:pt x="408" y="688"/>
                  </a:lnTo>
                  <a:lnTo>
                    <a:pt x="424" y="688"/>
                  </a:lnTo>
                  <a:lnTo>
                    <a:pt x="456" y="696"/>
                  </a:lnTo>
                  <a:lnTo>
                    <a:pt x="480" y="680"/>
                  </a:lnTo>
                  <a:lnTo>
                    <a:pt x="488" y="672"/>
                  </a:lnTo>
                  <a:lnTo>
                    <a:pt x="464" y="664"/>
                  </a:lnTo>
                  <a:lnTo>
                    <a:pt x="464" y="640"/>
                  </a:lnTo>
                  <a:lnTo>
                    <a:pt x="496" y="632"/>
                  </a:lnTo>
                  <a:lnTo>
                    <a:pt x="504" y="600"/>
                  </a:lnTo>
                  <a:lnTo>
                    <a:pt x="528" y="600"/>
                  </a:lnTo>
                  <a:lnTo>
                    <a:pt x="536" y="568"/>
                  </a:lnTo>
                  <a:lnTo>
                    <a:pt x="520" y="480"/>
                  </a:lnTo>
                  <a:lnTo>
                    <a:pt x="480" y="408"/>
                  </a:lnTo>
                  <a:lnTo>
                    <a:pt x="480" y="432"/>
                  </a:lnTo>
                  <a:lnTo>
                    <a:pt x="408" y="360"/>
                  </a:lnTo>
                  <a:lnTo>
                    <a:pt x="392" y="368"/>
                  </a:lnTo>
                  <a:lnTo>
                    <a:pt x="344" y="336"/>
                  </a:lnTo>
                  <a:lnTo>
                    <a:pt x="336" y="304"/>
                  </a:lnTo>
                  <a:lnTo>
                    <a:pt x="280" y="312"/>
                  </a:lnTo>
                  <a:lnTo>
                    <a:pt x="224" y="288"/>
                  </a:lnTo>
                  <a:lnTo>
                    <a:pt x="208" y="336"/>
                  </a:lnTo>
                  <a:lnTo>
                    <a:pt x="136" y="280"/>
                  </a:lnTo>
                  <a:lnTo>
                    <a:pt x="48" y="240"/>
                  </a:lnTo>
                  <a:lnTo>
                    <a:pt x="0" y="248"/>
                  </a:lnTo>
                  <a:lnTo>
                    <a:pt x="8" y="160"/>
                  </a:lnTo>
                  <a:lnTo>
                    <a:pt x="24" y="144"/>
                  </a:lnTo>
                  <a:lnTo>
                    <a:pt x="48" y="152"/>
                  </a:lnTo>
                  <a:lnTo>
                    <a:pt x="72" y="112"/>
                  </a:lnTo>
                  <a:lnTo>
                    <a:pt x="112" y="96"/>
                  </a:lnTo>
                  <a:lnTo>
                    <a:pt x="136" y="80"/>
                  </a:lnTo>
                  <a:lnTo>
                    <a:pt x="136" y="64"/>
                  </a:lnTo>
                  <a:lnTo>
                    <a:pt x="200" y="64"/>
                  </a:lnTo>
                  <a:lnTo>
                    <a:pt x="216" y="32"/>
                  </a:lnTo>
                  <a:lnTo>
                    <a:pt x="216" y="8"/>
                  </a:lnTo>
                  <a:lnTo>
                    <a:pt x="232" y="0"/>
                  </a:lnTo>
                  <a:lnTo>
                    <a:pt x="272" y="8"/>
                  </a:lnTo>
                  <a:lnTo>
                    <a:pt x="288" y="72"/>
                  </a:lnTo>
                  <a:lnTo>
                    <a:pt x="288" y="104"/>
                  </a:lnTo>
                  <a:lnTo>
                    <a:pt x="296" y="128"/>
                  </a:lnTo>
                  <a:lnTo>
                    <a:pt x="312" y="152"/>
                  </a:lnTo>
                  <a:lnTo>
                    <a:pt x="312" y="176"/>
                  </a:lnTo>
                  <a:lnTo>
                    <a:pt x="320" y="192"/>
                  </a:lnTo>
                  <a:lnTo>
                    <a:pt x="336" y="192"/>
                  </a:lnTo>
                  <a:lnTo>
                    <a:pt x="336" y="168"/>
                  </a:lnTo>
                  <a:lnTo>
                    <a:pt x="408" y="176"/>
                  </a:lnTo>
                  <a:lnTo>
                    <a:pt x="408" y="200"/>
                  </a:lnTo>
                  <a:lnTo>
                    <a:pt x="408" y="216"/>
                  </a:lnTo>
                  <a:lnTo>
                    <a:pt x="384" y="240"/>
                  </a:lnTo>
                  <a:lnTo>
                    <a:pt x="384" y="256"/>
                  </a:lnTo>
                  <a:lnTo>
                    <a:pt x="432" y="304"/>
                  </a:lnTo>
                  <a:lnTo>
                    <a:pt x="432" y="328"/>
                  </a:lnTo>
                  <a:lnTo>
                    <a:pt x="488" y="352"/>
                  </a:lnTo>
                  <a:lnTo>
                    <a:pt x="496" y="344"/>
                  </a:lnTo>
                  <a:lnTo>
                    <a:pt x="488" y="312"/>
                  </a:lnTo>
                  <a:lnTo>
                    <a:pt x="528" y="320"/>
                  </a:lnTo>
                  <a:lnTo>
                    <a:pt x="536" y="320"/>
                  </a:lnTo>
                  <a:lnTo>
                    <a:pt x="584" y="320"/>
                  </a:lnTo>
                  <a:lnTo>
                    <a:pt x="608" y="312"/>
                  </a:lnTo>
                  <a:lnTo>
                    <a:pt x="624" y="336"/>
                  </a:lnTo>
                  <a:lnTo>
                    <a:pt x="584" y="368"/>
                  </a:lnTo>
                  <a:lnTo>
                    <a:pt x="576" y="392"/>
                  </a:lnTo>
                  <a:lnTo>
                    <a:pt x="568" y="416"/>
                  </a:lnTo>
                  <a:lnTo>
                    <a:pt x="600" y="456"/>
                  </a:lnTo>
                  <a:lnTo>
                    <a:pt x="640" y="456"/>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50" name="Freeform 32"/>
            <p:cNvSpPr/>
            <p:nvPr/>
          </p:nvSpPr>
          <p:spPr bwMode="auto">
            <a:xfrm>
              <a:off x="2208275" y="61614"/>
              <a:ext cx="2397436" cy="2117966"/>
            </a:xfrm>
            <a:custGeom>
              <a:avLst/>
              <a:gdLst>
                <a:gd name="T0" fmla="*/ 68979 w 1425"/>
                <a:gd name="T1" fmla="*/ 2554871 h 1241"/>
                <a:gd name="T2" fmla="*/ 265821 w 1425"/>
                <a:gd name="T3" fmla="*/ 2759670 h 1241"/>
                <a:gd name="T4" fmla="*/ 570337 w 1425"/>
                <a:gd name="T5" fmla="*/ 2780150 h 1241"/>
                <a:gd name="T6" fmla="*/ 469393 w 1425"/>
                <a:gd name="T7" fmla="*/ 2938870 h 1241"/>
                <a:gd name="T8" fmla="*/ 905137 w 1425"/>
                <a:gd name="T9" fmla="*/ 3217056 h 1241"/>
                <a:gd name="T10" fmla="*/ 1075061 w 1425"/>
                <a:gd name="T11" fmla="*/ 3121483 h 1241"/>
                <a:gd name="T12" fmla="*/ 1478839 w 1425"/>
                <a:gd name="T13" fmla="*/ 3145376 h 1241"/>
                <a:gd name="T14" fmla="*/ 1377895 w 1425"/>
                <a:gd name="T15" fmla="*/ 3532788 h 1241"/>
                <a:gd name="T16" fmla="*/ 1779991 w 1425"/>
                <a:gd name="T17" fmla="*/ 3420148 h 1241"/>
                <a:gd name="T18" fmla="*/ 2086190 w 1425"/>
                <a:gd name="T19" fmla="*/ 3167562 h 1241"/>
                <a:gd name="T20" fmla="*/ 2348646 w 1425"/>
                <a:gd name="T21" fmla="*/ 3486708 h 1241"/>
                <a:gd name="T22" fmla="*/ 2520252 w 1425"/>
                <a:gd name="T23" fmla="*/ 3420148 h 1241"/>
                <a:gd name="T24" fmla="*/ 2787755 w 1425"/>
                <a:gd name="T25" fmla="*/ 3167562 h 1241"/>
                <a:gd name="T26" fmla="*/ 2957679 w 1425"/>
                <a:gd name="T27" fmla="*/ 3121483 h 1241"/>
                <a:gd name="T28" fmla="*/ 3090589 w 1425"/>
                <a:gd name="T29" fmla="*/ 3121483 h 1241"/>
                <a:gd name="T30" fmla="*/ 3361458 w 1425"/>
                <a:gd name="T31" fmla="*/ 2921803 h 1241"/>
                <a:gd name="T32" fmla="*/ 3625596 w 1425"/>
                <a:gd name="T33" fmla="*/ 2874017 h 1241"/>
                <a:gd name="T34" fmla="*/ 3761872 w 1425"/>
                <a:gd name="T35" fmla="*/ 2621431 h 1241"/>
                <a:gd name="T36" fmla="*/ 3962078 w 1425"/>
                <a:gd name="T37" fmla="*/ 2597538 h 1241"/>
                <a:gd name="T38" fmla="*/ 4231264 w 1425"/>
                <a:gd name="T39" fmla="*/ 2484898 h 1241"/>
                <a:gd name="T40" fmla="*/ 4567746 w 1425"/>
                <a:gd name="T41" fmla="*/ 2348365 h 1241"/>
                <a:gd name="T42" fmla="*/ 4734305 w 1425"/>
                <a:gd name="T43" fmla="*/ 2621431 h 1241"/>
                <a:gd name="T44" fmla="*/ 4934512 w 1425"/>
                <a:gd name="T45" fmla="*/ 2529271 h 1241"/>
                <a:gd name="T46" fmla="*/ 4934512 w 1425"/>
                <a:gd name="T47" fmla="*/ 2394445 h 1241"/>
                <a:gd name="T48" fmla="*/ 5676455 w 1425"/>
                <a:gd name="T49" fmla="*/ 2235726 h 1241"/>
                <a:gd name="T50" fmla="*/ 5777400 w 1425"/>
                <a:gd name="T51" fmla="*/ 2077006 h 1241"/>
                <a:gd name="T52" fmla="*/ 5508214 w 1425"/>
                <a:gd name="T53" fmla="*/ 1914873 h 1241"/>
                <a:gd name="T54" fmla="*/ 5308007 w 1425"/>
                <a:gd name="T55" fmla="*/ 1594021 h 1241"/>
                <a:gd name="T56" fmla="*/ 5609159 w 1425"/>
                <a:gd name="T57" fmla="*/ 1594021 h 1241"/>
                <a:gd name="T58" fmla="*/ 5676455 w 1425"/>
                <a:gd name="T59" fmla="*/ 1344849 h 1241"/>
                <a:gd name="T60" fmla="*/ 5439236 w 1425"/>
                <a:gd name="T61" fmla="*/ 1230502 h 1241"/>
                <a:gd name="T62" fmla="*/ 5841332 w 1425"/>
                <a:gd name="T63" fmla="*/ 841384 h 1241"/>
                <a:gd name="T64" fmla="*/ 5979290 w 1425"/>
                <a:gd name="T65" fmla="*/ 365225 h 1241"/>
                <a:gd name="T66" fmla="*/ 5644490 w 1425"/>
                <a:gd name="T67" fmla="*/ 365225 h 1241"/>
                <a:gd name="T68" fmla="*/ 5308007 w 1425"/>
                <a:gd name="T69" fmla="*/ 208213 h 1241"/>
                <a:gd name="T70" fmla="*/ 5003491 w 1425"/>
                <a:gd name="T71" fmla="*/ 186026 h 1241"/>
                <a:gd name="T72" fmla="*/ 4902546 w 1425"/>
                <a:gd name="T73" fmla="*/ 0 h 1241"/>
                <a:gd name="T74" fmla="*/ 4872263 w 1425"/>
                <a:gd name="T75" fmla="*/ 186026 h 1241"/>
                <a:gd name="T76" fmla="*/ 4734305 w 1425"/>
                <a:gd name="T77" fmla="*/ 477865 h 1241"/>
                <a:gd name="T78" fmla="*/ 4702339 w 1425"/>
                <a:gd name="T79" fmla="*/ 684371 h 1241"/>
                <a:gd name="T80" fmla="*/ 4165650 w 1425"/>
                <a:gd name="T81" fmla="*/ 795304 h 1241"/>
                <a:gd name="T82" fmla="*/ 4165650 w 1425"/>
                <a:gd name="T83" fmla="*/ 1230502 h 1241"/>
                <a:gd name="T84" fmla="*/ 4431471 w 1425"/>
                <a:gd name="T85" fmla="*/ 1186129 h 1241"/>
                <a:gd name="T86" fmla="*/ 4771318 w 1425"/>
                <a:gd name="T87" fmla="*/ 1276582 h 1241"/>
                <a:gd name="T88" fmla="*/ 4771318 w 1425"/>
                <a:gd name="T89" fmla="*/ 1435302 h 1241"/>
                <a:gd name="T90" fmla="*/ 4367540 w 1425"/>
                <a:gd name="T91" fmla="*/ 1527461 h 1241"/>
                <a:gd name="T92" fmla="*/ 4165650 w 1425"/>
                <a:gd name="T93" fmla="*/ 1686181 h 1241"/>
                <a:gd name="T94" fmla="*/ 3625596 w 1425"/>
                <a:gd name="T95" fmla="*/ 1892687 h 1241"/>
                <a:gd name="T96" fmla="*/ 3191534 w 1425"/>
                <a:gd name="T97" fmla="*/ 1846607 h 1241"/>
                <a:gd name="T98" fmla="*/ 3223500 w 1425"/>
                <a:gd name="T99" fmla="*/ 2141859 h 1241"/>
                <a:gd name="T100" fmla="*/ 2685128 w 1425"/>
                <a:gd name="T101" fmla="*/ 2414925 h 1241"/>
                <a:gd name="T102" fmla="*/ 1916266 w 1425"/>
                <a:gd name="T103" fmla="*/ 2507085 h 1241"/>
                <a:gd name="T104" fmla="*/ 1478839 w 1425"/>
                <a:gd name="T105" fmla="*/ 2529271 h 1241"/>
                <a:gd name="T106" fmla="*/ 1043095 w 1425"/>
                <a:gd name="T107" fmla="*/ 2459298 h 1241"/>
                <a:gd name="T108" fmla="*/ 402096 w 1425"/>
                <a:gd name="T109" fmla="*/ 2326179 h 12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25"/>
                <a:gd name="T166" fmla="*/ 0 h 1241"/>
                <a:gd name="T167" fmla="*/ 1425 w 1425"/>
                <a:gd name="T168" fmla="*/ 1241 h 124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25" h="1241">
                  <a:moveTo>
                    <a:pt x="0" y="784"/>
                  </a:moveTo>
                  <a:lnTo>
                    <a:pt x="16" y="848"/>
                  </a:lnTo>
                  <a:lnTo>
                    <a:pt x="16" y="896"/>
                  </a:lnTo>
                  <a:lnTo>
                    <a:pt x="40" y="928"/>
                  </a:lnTo>
                  <a:lnTo>
                    <a:pt x="48" y="968"/>
                  </a:lnTo>
                  <a:lnTo>
                    <a:pt x="64" y="968"/>
                  </a:lnTo>
                  <a:lnTo>
                    <a:pt x="64" y="944"/>
                  </a:lnTo>
                  <a:lnTo>
                    <a:pt x="136" y="952"/>
                  </a:lnTo>
                  <a:lnTo>
                    <a:pt x="136" y="976"/>
                  </a:lnTo>
                  <a:lnTo>
                    <a:pt x="136" y="992"/>
                  </a:lnTo>
                  <a:lnTo>
                    <a:pt x="112" y="1016"/>
                  </a:lnTo>
                  <a:lnTo>
                    <a:pt x="112" y="1032"/>
                  </a:lnTo>
                  <a:lnTo>
                    <a:pt x="160" y="1080"/>
                  </a:lnTo>
                  <a:lnTo>
                    <a:pt x="160" y="1104"/>
                  </a:lnTo>
                  <a:lnTo>
                    <a:pt x="216" y="1128"/>
                  </a:lnTo>
                  <a:lnTo>
                    <a:pt x="224" y="1120"/>
                  </a:lnTo>
                  <a:lnTo>
                    <a:pt x="216" y="1088"/>
                  </a:lnTo>
                  <a:lnTo>
                    <a:pt x="256" y="1096"/>
                  </a:lnTo>
                  <a:lnTo>
                    <a:pt x="264" y="1096"/>
                  </a:lnTo>
                  <a:lnTo>
                    <a:pt x="336" y="1088"/>
                  </a:lnTo>
                  <a:lnTo>
                    <a:pt x="352" y="1104"/>
                  </a:lnTo>
                  <a:lnTo>
                    <a:pt x="312" y="1144"/>
                  </a:lnTo>
                  <a:lnTo>
                    <a:pt x="296" y="1192"/>
                  </a:lnTo>
                  <a:lnTo>
                    <a:pt x="328" y="1240"/>
                  </a:lnTo>
                  <a:lnTo>
                    <a:pt x="376" y="1232"/>
                  </a:lnTo>
                  <a:lnTo>
                    <a:pt x="400" y="1208"/>
                  </a:lnTo>
                  <a:lnTo>
                    <a:pt x="424" y="1200"/>
                  </a:lnTo>
                  <a:lnTo>
                    <a:pt x="432" y="1136"/>
                  </a:lnTo>
                  <a:lnTo>
                    <a:pt x="488" y="1088"/>
                  </a:lnTo>
                  <a:lnTo>
                    <a:pt x="496" y="1112"/>
                  </a:lnTo>
                  <a:lnTo>
                    <a:pt x="480" y="1176"/>
                  </a:lnTo>
                  <a:lnTo>
                    <a:pt x="520" y="1192"/>
                  </a:lnTo>
                  <a:lnTo>
                    <a:pt x="560" y="1224"/>
                  </a:lnTo>
                  <a:lnTo>
                    <a:pt x="576" y="1224"/>
                  </a:lnTo>
                  <a:lnTo>
                    <a:pt x="592" y="1224"/>
                  </a:lnTo>
                  <a:lnTo>
                    <a:pt x="600" y="1200"/>
                  </a:lnTo>
                  <a:lnTo>
                    <a:pt x="616" y="1200"/>
                  </a:lnTo>
                  <a:lnTo>
                    <a:pt x="608" y="1168"/>
                  </a:lnTo>
                  <a:lnTo>
                    <a:pt x="664" y="1112"/>
                  </a:lnTo>
                  <a:lnTo>
                    <a:pt x="664" y="1096"/>
                  </a:lnTo>
                  <a:lnTo>
                    <a:pt x="696" y="1096"/>
                  </a:lnTo>
                  <a:lnTo>
                    <a:pt x="704" y="1096"/>
                  </a:lnTo>
                  <a:lnTo>
                    <a:pt x="712" y="1080"/>
                  </a:lnTo>
                  <a:lnTo>
                    <a:pt x="720" y="1080"/>
                  </a:lnTo>
                  <a:lnTo>
                    <a:pt x="736" y="1096"/>
                  </a:lnTo>
                  <a:lnTo>
                    <a:pt x="736" y="1072"/>
                  </a:lnTo>
                  <a:lnTo>
                    <a:pt x="760" y="1080"/>
                  </a:lnTo>
                  <a:lnTo>
                    <a:pt x="800" y="1024"/>
                  </a:lnTo>
                  <a:lnTo>
                    <a:pt x="832" y="1016"/>
                  </a:lnTo>
                  <a:lnTo>
                    <a:pt x="848" y="1000"/>
                  </a:lnTo>
                  <a:lnTo>
                    <a:pt x="864" y="1008"/>
                  </a:lnTo>
                  <a:lnTo>
                    <a:pt x="896" y="1000"/>
                  </a:lnTo>
                  <a:lnTo>
                    <a:pt x="872" y="928"/>
                  </a:lnTo>
                  <a:lnTo>
                    <a:pt x="896" y="920"/>
                  </a:lnTo>
                  <a:lnTo>
                    <a:pt x="896" y="888"/>
                  </a:lnTo>
                  <a:lnTo>
                    <a:pt x="928" y="872"/>
                  </a:lnTo>
                  <a:lnTo>
                    <a:pt x="944" y="912"/>
                  </a:lnTo>
                  <a:lnTo>
                    <a:pt x="984" y="888"/>
                  </a:lnTo>
                  <a:lnTo>
                    <a:pt x="1000" y="896"/>
                  </a:lnTo>
                  <a:lnTo>
                    <a:pt x="1008" y="872"/>
                  </a:lnTo>
                  <a:lnTo>
                    <a:pt x="1040" y="880"/>
                  </a:lnTo>
                  <a:lnTo>
                    <a:pt x="1040" y="840"/>
                  </a:lnTo>
                  <a:lnTo>
                    <a:pt x="1088" y="824"/>
                  </a:lnTo>
                  <a:lnTo>
                    <a:pt x="1112" y="864"/>
                  </a:lnTo>
                  <a:lnTo>
                    <a:pt x="1112" y="904"/>
                  </a:lnTo>
                  <a:lnTo>
                    <a:pt x="1128" y="920"/>
                  </a:lnTo>
                  <a:lnTo>
                    <a:pt x="1160" y="912"/>
                  </a:lnTo>
                  <a:lnTo>
                    <a:pt x="1176" y="912"/>
                  </a:lnTo>
                  <a:lnTo>
                    <a:pt x="1176" y="888"/>
                  </a:lnTo>
                  <a:lnTo>
                    <a:pt x="1176" y="864"/>
                  </a:lnTo>
                  <a:lnTo>
                    <a:pt x="1160" y="832"/>
                  </a:lnTo>
                  <a:lnTo>
                    <a:pt x="1176" y="840"/>
                  </a:lnTo>
                  <a:lnTo>
                    <a:pt x="1200" y="872"/>
                  </a:lnTo>
                  <a:lnTo>
                    <a:pt x="1328" y="776"/>
                  </a:lnTo>
                  <a:lnTo>
                    <a:pt x="1352" y="784"/>
                  </a:lnTo>
                  <a:lnTo>
                    <a:pt x="1392" y="752"/>
                  </a:lnTo>
                  <a:lnTo>
                    <a:pt x="1392" y="728"/>
                  </a:lnTo>
                  <a:lnTo>
                    <a:pt x="1376" y="728"/>
                  </a:lnTo>
                  <a:lnTo>
                    <a:pt x="1376" y="688"/>
                  </a:lnTo>
                  <a:lnTo>
                    <a:pt x="1352" y="640"/>
                  </a:lnTo>
                  <a:lnTo>
                    <a:pt x="1312" y="672"/>
                  </a:lnTo>
                  <a:lnTo>
                    <a:pt x="1288" y="616"/>
                  </a:lnTo>
                  <a:lnTo>
                    <a:pt x="1296" y="592"/>
                  </a:lnTo>
                  <a:lnTo>
                    <a:pt x="1264" y="560"/>
                  </a:lnTo>
                  <a:lnTo>
                    <a:pt x="1272" y="536"/>
                  </a:lnTo>
                  <a:lnTo>
                    <a:pt x="1312" y="560"/>
                  </a:lnTo>
                  <a:lnTo>
                    <a:pt x="1336" y="560"/>
                  </a:lnTo>
                  <a:lnTo>
                    <a:pt x="1328" y="512"/>
                  </a:lnTo>
                  <a:lnTo>
                    <a:pt x="1328" y="488"/>
                  </a:lnTo>
                  <a:lnTo>
                    <a:pt x="1352" y="472"/>
                  </a:lnTo>
                  <a:lnTo>
                    <a:pt x="1352" y="456"/>
                  </a:lnTo>
                  <a:lnTo>
                    <a:pt x="1320" y="472"/>
                  </a:lnTo>
                  <a:lnTo>
                    <a:pt x="1296" y="432"/>
                  </a:lnTo>
                  <a:lnTo>
                    <a:pt x="1368" y="336"/>
                  </a:lnTo>
                  <a:lnTo>
                    <a:pt x="1384" y="360"/>
                  </a:lnTo>
                  <a:lnTo>
                    <a:pt x="1392" y="296"/>
                  </a:lnTo>
                  <a:lnTo>
                    <a:pt x="1408" y="272"/>
                  </a:lnTo>
                  <a:lnTo>
                    <a:pt x="1400" y="216"/>
                  </a:lnTo>
                  <a:lnTo>
                    <a:pt x="1424" y="128"/>
                  </a:lnTo>
                  <a:lnTo>
                    <a:pt x="1384" y="88"/>
                  </a:lnTo>
                  <a:lnTo>
                    <a:pt x="1360" y="120"/>
                  </a:lnTo>
                  <a:lnTo>
                    <a:pt x="1344" y="128"/>
                  </a:lnTo>
                  <a:lnTo>
                    <a:pt x="1296" y="144"/>
                  </a:lnTo>
                  <a:lnTo>
                    <a:pt x="1280" y="120"/>
                  </a:lnTo>
                  <a:lnTo>
                    <a:pt x="1264" y="72"/>
                  </a:lnTo>
                  <a:lnTo>
                    <a:pt x="1240" y="56"/>
                  </a:lnTo>
                  <a:lnTo>
                    <a:pt x="1224" y="72"/>
                  </a:lnTo>
                  <a:lnTo>
                    <a:pt x="1192" y="64"/>
                  </a:lnTo>
                  <a:lnTo>
                    <a:pt x="1208" y="32"/>
                  </a:lnTo>
                  <a:lnTo>
                    <a:pt x="1200" y="0"/>
                  </a:lnTo>
                  <a:lnTo>
                    <a:pt x="1168" y="0"/>
                  </a:lnTo>
                  <a:lnTo>
                    <a:pt x="1128" y="40"/>
                  </a:lnTo>
                  <a:lnTo>
                    <a:pt x="1128" y="56"/>
                  </a:lnTo>
                  <a:lnTo>
                    <a:pt x="1160" y="64"/>
                  </a:lnTo>
                  <a:lnTo>
                    <a:pt x="1168" y="88"/>
                  </a:lnTo>
                  <a:lnTo>
                    <a:pt x="1136" y="136"/>
                  </a:lnTo>
                  <a:lnTo>
                    <a:pt x="1128" y="168"/>
                  </a:lnTo>
                  <a:lnTo>
                    <a:pt x="1112" y="200"/>
                  </a:lnTo>
                  <a:lnTo>
                    <a:pt x="1112" y="232"/>
                  </a:lnTo>
                  <a:lnTo>
                    <a:pt x="1120" y="240"/>
                  </a:lnTo>
                  <a:lnTo>
                    <a:pt x="1056" y="288"/>
                  </a:lnTo>
                  <a:lnTo>
                    <a:pt x="1016" y="280"/>
                  </a:lnTo>
                  <a:lnTo>
                    <a:pt x="992" y="280"/>
                  </a:lnTo>
                  <a:lnTo>
                    <a:pt x="944" y="416"/>
                  </a:lnTo>
                  <a:lnTo>
                    <a:pt x="960" y="432"/>
                  </a:lnTo>
                  <a:lnTo>
                    <a:pt x="992" y="432"/>
                  </a:lnTo>
                  <a:lnTo>
                    <a:pt x="1032" y="432"/>
                  </a:lnTo>
                  <a:lnTo>
                    <a:pt x="1040" y="440"/>
                  </a:lnTo>
                  <a:lnTo>
                    <a:pt x="1056" y="416"/>
                  </a:lnTo>
                  <a:lnTo>
                    <a:pt x="1080" y="408"/>
                  </a:lnTo>
                  <a:lnTo>
                    <a:pt x="1104" y="416"/>
                  </a:lnTo>
                  <a:lnTo>
                    <a:pt x="1136" y="448"/>
                  </a:lnTo>
                  <a:lnTo>
                    <a:pt x="1160" y="480"/>
                  </a:lnTo>
                  <a:lnTo>
                    <a:pt x="1160" y="512"/>
                  </a:lnTo>
                  <a:lnTo>
                    <a:pt x="1136" y="504"/>
                  </a:lnTo>
                  <a:lnTo>
                    <a:pt x="1088" y="520"/>
                  </a:lnTo>
                  <a:lnTo>
                    <a:pt x="1048" y="520"/>
                  </a:lnTo>
                  <a:lnTo>
                    <a:pt x="1040" y="536"/>
                  </a:lnTo>
                  <a:lnTo>
                    <a:pt x="1016" y="536"/>
                  </a:lnTo>
                  <a:lnTo>
                    <a:pt x="992" y="560"/>
                  </a:lnTo>
                  <a:lnTo>
                    <a:pt x="992" y="592"/>
                  </a:lnTo>
                  <a:lnTo>
                    <a:pt x="968" y="608"/>
                  </a:lnTo>
                  <a:lnTo>
                    <a:pt x="912" y="616"/>
                  </a:lnTo>
                  <a:lnTo>
                    <a:pt x="864" y="664"/>
                  </a:lnTo>
                  <a:lnTo>
                    <a:pt x="800" y="664"/>
                  </a:lnTo>
                  <a:lnTo>
                    <a:pt x="784" y="648"/>
                  </a:lnTo>
                  <a:lnTo>
                    <a:pt x="760" y="648"/>
                  </a:lnTo>
                  <a:lnTo>
                    <a:pt x="752" y="680"/>
                  </a:lnTo>
                  <a:lnTo>
                    <a:pt x="728" y="704"/>
                  </a:lnTo>
                  <a:lnTo>
                    <a:pt x="768" y="752"/>
                  </a:lnTo>
                  <a:lnTo>
                    <a:pt x="720" y="784"/>
                  </a:lnTo>
                  <a:lnTo>
                    <a:pt x="696" y="824"/>
                  </a:lnTo>
                  <a:lnTo>
                    <a:pt x="640" y="848"/>
                  </a:lnTo>
                  <a:lnTo>
                    <a:pt x="560" y="856"/>
                  </a:lnTo>
                  <a:lnTo>
                    <a:pt x="496" y="864"/>
                  </a:lnTo>
                  <a:lnTo>
                    <a:pt x="456" y="880"/>
                  </a:lnTo>
                  <a:lnTo>
                    <a:pt x="408" y="912"/>
                  </a:lnTo>
                  <a:lnTo>
                    <a:pt x="384" y="912"/>
                  </a:lnTo>
                  <a:lnTo>
                    <a:pt x="352" y="888"/>
                  </a:lnTo>
                  <a:lnTo>
                    <a:pt x="312" y="888"/>
                  </a:lnTo>
                  <a:lnTo>
                    <a:pt x="280" y="864"/>
                  </a:lnTo>
                  <a:lnTo>
                    <a:pt x="248" y="864"/>
                  </a:lnTo>
                  <a:lnTo>
                    <a:pt x="224" y="824"/>
                  </a:lnTo>
                  <a:lnTo>
                    <a:pt x="160" y="816"/>
                  </a:lnTo>
                  <a:lnTo>
                    <a:pt x="96" y="816"/>
                  </a:lnTo>
                  <a:lnTo>
                    <a:pt x="64" y="792"/>
                  </a:lnTo>
                  <a:lnTo>
                    <a:pt x="0" y="784"/>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51" name="Freeform 33"/>
            <p:cNvSpPr/>
            <p:nvPr/>
          </p:nvSpPr>
          <p:spPr bwMode="auto">
            <a:xfrm>
              <a:off x="0" y="417432"/>
              <a:ext cx="2142419" cy="1762148"/>
            </a:xfrm>
            <a:custGeom>
              <a:avLst/>
              <a:gdLst>
                <a:gd name="T0" fmla="*/ 5284521 w 1273"/>
                <a:gd name="T1" fmla="*/ 1637621 h 1033"/>
                <a:gd name="T2" fmla="*/ 5215520 w 1273"/>
                <a:gd name="T3" fmla="*/ 1794559 h 1033"/>
                <a:gd name="T4" fmla="*/ 4946245 w 1273"/>
                <a:gd name="T5" fmla="*/ 1794559 h 1033"/>
                <a:gd name="T6" fmla="*/ 4845267 w 1273"/>
                <a:gd name="T7" fmla="*/ 1884970 h 1033"/>
                <a:gd name="T8" fmla="*/ 4542332 w 1273"/>
                <a:gd name="T9" fmla="*/ 2045320 h 1033"/>
                <a:gd name="T10" fmla="*/ 4409378 w 1273"/>
                <a:gd name="T11" fmla="*/ 2069202 h 1033"/>
                <a:gd name="T12" fmla="*/ 3936464 w 1273"/>
                <a:gd name="T13" fmla="*/ 2342139 h 1033"/>
                <a:gd name="T14" fmla="*/ 3702531 w 1273"/>
                <a:gd name="T15" fmla="*/ 2502489 h 1033"/>
                <a:gd name="T16" fmla="*/ 3870828 w 1273"/>
                <a:gd name="T17" fmla="*/ 2679898 h 1033"/>
                <a:gd name="T18" fmla="*/ 3739556 w 1273"/>
                <a:gd name="T19" fmla="*/ 2819778 h 1033"/>
                <a:gd name="T20" fmla="*/ 3768167 w 1273"/>
                <a:gd name="T21" fmla="*/ 2934070 h 1033"/>
                <a:gd name="T22" fmla="*/ 3535917 w 1273"/>
                <a:gd name="T23" fmla="*/ 2886306 h 1033"/>
                <a:gd name="T24" fmla="*/ 3396231 w 1273"/>
                <a:gd name="T25" fmla="*/ 2841954 h 1033"/>
                <a:gd name="T26" fmla="*/ 3098345 w 1273"/>
                <a:gd name="T27" fmla="*/ 2725956 h 1033"/>
                <a:gd name="T28" fmla="*/ 2524453 w 1273"/>
                <a:gd name="T29" fmla="*/ 2797602 h 1033"/>
                <a:gd name="T30" fmla="*/ 2157566 w 1273"/>
                <a:gd name="T31" fmla="*/ 2819778 h 1033"/>
                <a:gd name="T32" fmla="*/ 1815923 w 1273"/>
                <a:gd name="T33" fmla="*/ 2703780 h 1033"/>
                <a:gd name="T34" fmla="*/ 1548331 w 1273"/>
                <a:gd name="T35" fmla="*/ 2725956 h 1033"/>
                <a:gd name="T36" fmla="*/ 1146102 w 1273"/>
                <a:gd name="T37" fmla="*/ 2635546 h 1033"/>
                <a:gd name="T38" fmla="*/ 907120 w 1273"/>
                <a:gd name="T39" fmla="*/ 2797602 h 1033"/>
                <a:gd name="T40" fmla="*/ 641211 w 1273"/>
                <a:gd name="T41" fmla="*/ 2679898 h 1033"/>
                <a:gd name="T42" fmla="*/ 435889 w 1273"/>
                <a:gd name="T43" fmla="*/ 2456431 h 1033"/>
                <a:gd name="T44" fmla="*/ 232250 w 1273"/>
                <a:gd name="T45" fmla="*/ 2272199 h 1033"/>
                <a:gd name="T46" fmla="*/ 269275 w 1273"/>
                <a:gd name="T47" fmla="*/ 2202259 h 1033"/>
                <a:gd name="T48" fmla="*/ 169980 w 1273"/>
                <a:gd name="T49" fmla="*/ 2024850 h 1033"/>
                <a:gd name="T50" fmla="*/ 0 w 1273"/>
                <a:gd name="T51" fmla="*/ 1954910 h 1033"/>
                <a:gd name="T52" fmla="*/ 132955 w 1273"/>
                <a:gd name="T53" fmla="*/ 1954910 h 1033"/>
                <a:gd name="T54" fmla="*/ 132955 w 1273"/>
                <a:gd name="T55" fmla="*/ 1750207 h 1033"/>
                <a:gd name="T56" fmla="*/ 100978 w 1273"/>
                <a:gd name="T57" fmla="*/ 1615444 h 1033"/>
                <a:gd name="T58" fmla="*/ 0 w 1273"/>
                <a:gd name="T59" fmla="*/ 1478976 h 1033"/>
                <a:gd name="T60" fmla="*/ 371936 w 1273"/>
                <a:gd name="T61" fmla="*/ 1318626 h 1033"/>
                <a:gd name="T62" fmla="*/ 570526 w 1273"/>
                <a:gd name="T63" fmla="*/ 1296450 h 1033"/>
                <a:gd name="T64" fmla="*/ 641211 w 1273"/>
                <a:gd name="T65" fmla="*/ 1364684 h 1033"/>
                <a:gd name="T66" fmla="*/ 841484 w 1273"/>
                <a:gd name="T67" fmla="*/ 1364684 h 1033"/>
                <a:gd name="T68" fmla="*/ 1277373 w 1273"/>
                <a:gd name="T69" fmla="*/ 1296450 h 1033"/>
                <a:gd name="T70" fmla="*/ 1751970 w 1273"/>
                <a:gd name="T71" fmla="*/ 1207745 h 1033"/>
                <a:gd name="T72" fmla="*/ 1782264 w 1273"/>
                <a:gd name="T73" fmla="*/ 1069571 h 1033"/>
                <a:gd name="T74" fmla="*/ 1984220 w 1273"/>
                <a:gd name="T75" fmla="*/ 661872 h 1033"/>
                <a:gd name="T76" fmla="*/ 1918584 w 1273"/>
                <a:gd name="T77" fmla="*/ 566344 h 1033"/>
                <a:gd name="T78" fmla="*/ 2490793 w 1273"/>
                <a:gd name="T79" fmla="*/ 637990 h 1033"/>
                <a:gd name="T80" fmla="*/ 2793728 w 1273"/>
                <a:gd name="T81" fmla="*/ 271231 h 1033"/>
                <a:gd name="T82" fmla="*/ 3296935 w 1273"/>
                <a:gd name="T83" fmla="*/ 365053 h 1033"/>
                <a:gd name="T84" fmla="*/ 3296935 w 1273"/>
                <a:gd name="T85" fmla="*/ 230290 h 1033"/>
                <a:gd name="T86" fmla="*/ 3535917 w 1273"/>
                <a:gd name="T87" fmla="*/ 112586 h 1033"/>
                <a:gd name="T88" fmla="*/ 3702531 w 1273"/>
                <a:gd name="T89" fmla="*/ 0 h 1033"/>
                <a:gd name="T90" fmla="*/ 3902804 w 1273"/>
                <a:gd name="T91" fmla="*/ 46058 h 1033"/>
                <a:gd name="T92" fmla="*/ 3902804 w 1273"/>
                <a:gd name="T93" fmla="*/ 136468 h 1033"/>
                <a:gd name="T94" fmla="*/ 4040808 w 1273"/>
                <a:gd name="T95" fmla="*/ 317289 h 1033"/>
                <a:gd name="T96" fmla="*/ 4308400 w 1273"/>
                <a:gd name="T97" fmla="*/ 407699 h 1033"/>
                <a:gd name="T98" fmla="*/ 4374035 w 1273"/>
                <a:gd name="T99" fmla="*/ 706224 h 1033"/>
                <a:gd name="T100" fmla="*/ 4273057 w 1273"/>
                <a:gd name="T101" fmla="*/ 953573 h 1033"/>
                <a:gd name="T102" fmla="*/ 4682019 w 1273"/>
                <a:gd name="T103" fmla="*/ 1049101 h 1033"/>
                <a:gd name="T104" fmla="*/ 5084248 w 1273"/>
                <a:gd name="T105" fmla="*/ 1248686 h 1033"/>
                <a:gd name="T106" fmla="*/ 5186909 w 1273"/>
                <a:gd name="T107" fmla="*/ 1364684 h 1033"/>
                <a:gd name="T108" fmla="*/ 5350157 w 1273"/>
                <a:gd name="T109" fmla="*/ 1615444 h 10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3"/>
                <a:gd name="T166" fmla="*/ 0 h 1033"/>
                <a:gd name="T167" fmla="*/ 1273 w 1273"/>
                <a:gd name="T168" fmla="*/ 1033 h 10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3" h="1033">
                  <a:moveTo>
                    <a:pt x="1272" y="568"/>
                  </a:moveTo>
                  <a:lnTo>
                    <a:pt x="1256" y="576"/>
                  </a:lnTo>
                  <a:lnTo>
                    <a:pt x="1256" y="600"/>
                  </a:lnTo>
                  <a:lnTo>
                    <a:pt x="1240" y="632"/>
                  </a:lnTo>
                  <a:lnTo>
                    <a:pt x="1208" y="632"/>
                  </a:lnTo>
                  <a:lnTo>
                    <a:pt x="1176" y="632"/>
                  </a:lnTo>
                  <a:lnTo>
                    <a:pt x="1176" y="648"/>
                  </a:lnTo>
                  <a:lnTo>
                    <a:pt x="1152" y="664"/>
                  </a:lnTo>
                  <a:lnTo>
                    <a:pt x="1112" y="680"/>
                  </a:lnTo>
                  <a:lnTo>
                    <a:pt x="1080" y="720"/>
                  </a:lnTo>
                  <a:lnTo>
                    <a:pt x="1064" y="712"/>
                  </a:lnTo>
                  <a:lnTo>
                    <a:pt x="1048" y="728"/>
                  </a:lnTo>
                  <a:lnTo>
                    <a:pt x="1040" y="816"/>
                  </a:lnTo>
                  <a:lnTo>
                    <a:pt x="936" y="824"/>
                  </a:lnTo>
                  <a:lnTo>
                    <a:pt x="888" y="840"/>
                  </a:lnTo>
                  <a:lnTo>
                    <a:pt x="880" y="880"/>
                  </a:lnTo>
                  <a:lnTo>
                    <a:pt x="920" y="928"/>
                  </a:lnTo>
                  <a:lnTo>
                    <a:pt x="920" y="944"/>
                  </a:lnTo>
                  <a:lnTo>
                    <a:pt x="888" y="968"/>
                  </a:lnTo>
                  <a:lnTo>
                    <a:pt x="888" y="992"/>
                  </a:lnTo>
                  <a:lnTo>
                    <a:pt x="896" y="1000"/>
                  </a:lnTo>
                  <a:lnTo>
                    <a:pt x="896" y="1032"/>
                  </a:lnTo>
                  <a:lnTo>
                    <a:pt x="840" y="1008"/>
                  </a:lnTo>
                  <a:lnTo>
                    <a:pt x="840" y="1016"/>
                  </a:lnTo>
                  <a:lnTo>
                    <a:pt x="816" y="1016"/>
                  </a:lnTo>
                  <a:lnTo>
                    <a:pt x="808" y="1000"/>
                  </a:lnTo>
                  <a:lnTo>
                    <a:pt x="760" y="976"/>
                  </a:lnTo>
                  <a:lnTo>
                    <a:pt x="736" y="960"/>
                  </a:lnTo>
                  <a:lnTo>
                    <a:pt x="624" y="968"/>
                  </a:lnTo>
                  <a:lnTo>
                    <a:pt x="600" y="984"/>
                  </a:lnTo>
                  <a:lnTo>
                    <a:pt x="528" y="984"/>
                  </a:lnTo>
                  <a:lnTo>
                    <a:pt x="512" y="992"/>
                  </a:lnTo>
                  <a:lnTo>
                    <a:pt x="440" y="984"/>
                  </a:lnTo>
                  <a:lnTo>
                    <a:pt x="432" y="952"/>
                  </a:lnTo>
                  <a:lnTo>
                    <a:pt x="384" y="944"/>
                  </a:lnTo>
                  <a:lnTo>
                    <a:pt x="368" y="960"/>
                  </a:lnTo>
                  <a:lnTo>
                    <a:pt x="296" y="928"/>
                  </a:lnTo>
                  <a:lnTo>
                    <a:pt x="272" y="928"/>
                  </a:lnTo>
                  <a:lnTo>
                    <a:pt x="248" y="968"/>
                  </a:lnTo>
                  <a:lnTo>
                    <a:pt x="216" y="984"/>
                  </a:lnTo>
                  <a:lnTo>
                    <a:pt x="176" y="976"/>
                  </a:lnTo>
                  <a:lnTo>
                    <a:pt x="152" y="944"/>
                  </a:lnTo>
                  <a:lnTo>
                    <a:pt x="152" y="872"/>
                  </a:lnTo>
                  <a:lnTo>
                    <a:pt x="104" y="864"/>
                  </a:lnTo>
                  <a:lnTo>
                    <a:pt x="72" y="816"/>
                  </a:lnTo>
                  <a:lnTo>
                    <a:pt x="56" y="800"/>
                  </a:lnTo>
                  <a:lnTo>
                    <a:pt x="48" y="784"/>
                  </a:lnTo>
                  <a:lnTo>
                    <a:pt x="64" y="776"/>
                  </a:lnTo>
                  <a:lnTo>
                    <a:pt x="64" y="752"/>
                  </a:lnTo>
                  <a:lnTo>
                    <a:pt x="40" y="712"/>
                  </a:lnTo>
                  <a:lnTo>
                    <a:pt x="16" y="704"/>
                  </a:lnTo>
                  <a:lnTo>
                    <a:pt x="0" y="688"/>
                  </a:lnTo>
                  <a:lnTo>
                    <a:pt x="16" y="680"/>
                  </a:lnTo>
                  <a:lnTo>
                    <a:pt x="32" y="688"/>
                  </a:lnTo>
                  <a:lnTo>
                    <a:pt x="40" y="672"/>
                  </a:lnTo>
                  <a:lnTo>
                    <a:pt x="32" y="616"/>
                  </a:lnTo>
                  <a:lnTo>
                    <a:pt x="48" y="592"/>
                  </a:lnTo>
                  <a:lnTo>
                    <a:pt x="24" y="568"/>
                  </a:lnTo>
                  <a:lnTo>
                    <a:pt x="0" y="568"/>
                  </a:lnTo>
                  <a:lnTo>
                    <a:pt x="0" y="520"/>
                  </a:lnTo>
                  <a:lnTo>
                    <a:pt x="48" y="464"/>
                  </a:lnTo>
                  <a:lnTo>
                    <a:pt x="88" y="464"/>
                  </a:lnTo>
                  <a:lnTo>
                    <a:pt x="112" y="448"/>
                  </a:lnTo>
                  <a:lnTo>
                    <a:pt x="136" y="456"/>
                  </a:lnTo>
                  <a:lnTo>
                    <a:pt x="144" y="448"/>
                  </a:lnTo>
                  <a:lnTo>
                    <a:pt x="152" y="480"/>
                  </a:lnTo>
                  <a:lnTo>
                    <a:pt x="168" y="472"/>
                  </a:lnTo>
                  <a:lnTo>
                    <a:pt x="200" y="480"/>
                  </a:lnTo>
                  <a:lnTo>
                    <a:pt x="208" y="456"/>
                  </a:lnTo>
                  <a:lnTo>
                    <a:pt x="304" y="456"/>
                  </a:lnTo>
                  <a:lnTo>
                    <a:pt x="320" y="432"/>
                  </a:lnTo>
                  <a:lnTo>
                    <a:pt x="416" y="424"/>
                  </a:lnTo>
                  <a:lnTo>
                    <a:pt x="424" y="408"/>
                  </a:lnTo>
                  <a:lnTo>
                    <a:pt x="424" y="376"/>
                  </a:lnTo>
                  <a:lnTo>
                    <a:pt x="464" y="352"/>
                  </a:lnTo>
                  <a:lnTo>
                    <a:pt x="472" y="232"/>
                  </a:lnTo>
                  <a:lnTo>
                    <a:pt x="456" y="224"/>
                  </a:lnTo>
                  <a:lnTo>
                    <a:pt x="456" y="200"/>
                  </a:lnTo>
                  <a:lnTo>
                    <a:pt x="576" y="208"/>
                  </a:lnTo>
                  <a:lnTo>
                    <a:pt x="592" y="224"/>
                  </a:lnTo>
                  <a:lnTo>
                    <a:pt x="608" y="176"/>
                  </a:lnTo>
                  <a:lnTo>
                    <a:pt x="664" y="96"/>
                  </a:lnTo>
                  <a:lnTo>
                    <a:pt x="744" y="136"/>
                  </a:lnTo>
                  <a:lnTo>
                    <a:pt x="784" y="128"/>
                  </a:lnTo>
                  <a:lnTo>
                    <a:pt x="792" y="104"/>
                  </a:lnTo>
                  <a:lnTo>
                    <a:pt x="784" y="80"/>
                  </a:lnTo>
                  <a:lnTo>
                    <a:pt x="816" y="48"/>
                  </a:lnTo>
                  <a:lnTo>
                    <a:pt x="840" y="40"/>
                  </a:lnTo>
                  <a:lnTo>
                    <a:pt x="872" y="24"/>
                  </a:lnTo>
                  <a:lnTo>
                    <a:pt x="880" y="0"/>
                  </a:lnTo>
                  <a:lnTo>
                    <a:pt x="928" y="8"/>
                  </a:lnTo>
                  <a:lnTo>
                    <a:pt x="928" y="16"/>
                  </a:lnTo>
                  <a:lnTo>
                    <a:pt x="912" y="32"/>
                  </a:lnTo>
                  <a:lnTo>
                    <a:pt x="928" y="48"/>
                  </a:lnTo>
                  <a:lnTo>
                    <a:pt x="936" y="72"/>
                  </a:lnTo>
                  <a:lnTo>
                    <a:pt x="960" y="112"/>
                  </a:lnTo>
                  <a:lnTo>
                    <a:pt x="984" y="120"/>
                  </a:lnTo>
                  <a:lnTo>
                    <a:pt x="1024" y="144"/>
                  </a:lnTo>
                  <a:lnTo>
                    <a:pt x="1024" y="200"/>
                  </a:lnTo>
                  <a:lnTo>
                    <a:pt x="1040" y="248"/>
                  </a:lnTo>
                  <a:lnTo>
                    <a:pt x="1008" y="304"/>
                  </a:lnTo>
                  <a:lnTo>
                    <a:pt x="1016" y="336"/>
                  </a:lnTo>
                  <a:lnTo>
                    <a:pt x="1048" y="360"/>
                  </a:lnTo>
                  <a:lnTo>
                    <a:pt x="1112" y="368"/>
                  </a:lnTo>
                  <a:lnTo>
                    <a:pt x="1160" y="392"/>
                  </a:lnTo>
                  <a:lnTo>
                    <a:pt x="1208" y="440"/>
                  </a:lnTo>
                  <a:lnTo>
                    <a:pt x="1232" y="440"/>
                  </a:lnTo>
                  <a:lnTo>
                    <a:pt x="1232" y="480"/>
                  </a:lnTo>
                  <a:lnTo>
                    <a:pt x="1248" y="520"/>
                  </a:lnTo>
                  <a:lnTo>
                    <a:pt x="1272" y="568"/>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52" name="Freeform 34"/>
            <p:cNvSpPr/>
            <p:nvPr/>
          </p:nvSpPr>
          <p:spPr bwMode="auto">
            <a:xfrm>
              <a:off x="4458586" y="3652144"/>
              <a:ext cx="214382" cy="440537"/>
            </a:xfrm>
            <a:custGeom>
              <a:avLst/>
              <a:gdLst>
                <a:gd name="T0" fmla="*/ 91403 w 129"/>
                <a:gd name="T1" fmla="*/ 677090 h 257"/>
                <a:gd name="T2" fmla="*/ 124641 w 129"/>
                <a:gd name="T3" fmla="*/ 726800 h 257"/>
                <a:gd name="T4" fmla="*/ 216044 w 129"/>
                <a:gd name="T5" fmla="*/ 749084 h 257"/>
                <a:gd name="T6" fmla="*/ 250943 w 129"/>
                <a:gd name="T7" fmla="*/ 654806 h 257"/>
                <a:gd name="T8" fmla="*/ 403836 w 129"/>
                <a:gd name="T9" fmla="*/ 539958 h 257"/>
                <a:gd name="T10" fmla="*/ 403836 w 129"/>
                <a:gd name="T11" fmla="*/ 373685 h 257"/>
                <a:gd name="T12" fmla="*/ 465325 w 129"/>
                <a:gd name="T13" fmla="*/ 281121 h 257"/>
                <a:gd name="T14" fmla="*/ 498563 w 129"/>
                <a:gd name="T15" fmla="*/ 209127 h 257"/>
                <a:gd name="T16" fmla="*/ 437073 w 129"/>
                <a:gd name="T17" fmla="*/ 164559 h 257"/>
                <a:gd name="T18" fmla="*/ 403836 w 129"/>
                <a:gd name="T19" fmla="*/ 0 h 257"/>
                <a:gd name="T20" fmla="*/ 250943 w 129"/>
                <a:gd name="T21" fmla="*/ 70280 h 257"/>
                <a:gd name="T22" fmla="*/ 189454 w 129"/>
                <a:gd name="T23" fmla="*/ 70280 h 257"/>
                <a:gd name="T24" fmla="*/ 216044 w 129"/>
                <a:gd name="T25" fmla="*/ 118276 h 257"/>
                <a:gd name="T26" fmla="*/ 91403 w 129"/>
                <a:gd name="T27" fmla="*/ 209127 h 257"/>
                <a:gd name="T28" fmla="*/ 91403 w 129"/>
                <a:gd name="T29" fmla="*/ 327403 h 257"/>
                <a:gd name="T30" fmla="*/ 0 w 129"/>
                <a:gd name="T31" fmla="*/ 395969 h 257"/>
                <a:gd name="T32" fmla="*/ 29914 w 129"/>
                <a:gd name="T33" fmla="*/ 490247 h 257"/>
                <a:gd name="T34" fmla="*/ 63151 w 129"/>
                <a:gd name="T35" fmla="*/ 654806 h 257"/>
                <a:gd name="T36" fmla="*/ 91403 w 129"/>
                <a:gd name="T37" fmla="*/ 677090 h 2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257"/>
                <a:gd name="T59" fmla="*/ 129 w 129"/>
                <a:gd name="T60" fmla="*/ 257 h 2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257">
                  <a:moveTo>
                    <a:pt x="24" y="232"/>
                  </a:moveTo>
                  <a:lnTo>
                    <a:pt x="32" y="248"/>
                  </a:lnTo>
                  <a:lnTo>
                    <a:pt x="56" y="256"/>
                  </a:lnTo>
                  <a:lnTo>
                    <a:pt x="64" y="224"/>
                  </a:lnTo>
                  <a:lnTo>
                    <a:pt x="104" y="184"/>
                  </a:lnTo>
                  <a:lnTo>
                    <a:pt x="104" y="128"/>
                  </a:lnTo>
                  <a:lnTo>
                    <a:pt x="120" y="96"/>
                  </a:lnTo>
                  <a:lnTo>
                    <a:pt x="128" y="72"/>
                  </a:lnTo>
                  <a:lnTo>
                    <a:pt x="112" y="56"/>
                  </a:lnTo>
                  <a:lnTo>
                    <a:pt x="104" y="0"/>
                  </a:lnTo>
                  <a:lnTo>
                    <a:pt x="64" y="24"/>
                  </a:lnTo>
                  <a:lnTo>
                    <a:pt x="48" y="24"/>
                  </a:lnTo>
                  <a:lnTo>
                    <a:pt x="56" y="40"/>
                  </a:lnTo>
                  <a:lnTo>
                    <a:pt x="24" y="72"/>
                  </a:lnTo>
                  <a:lnTo>
                    <a:pt x="24" y="112"/>
                  </a:lnTo>
                  <a:lnTo>
                    <a:pt x="0" y="136"/>
                  </a:lnTo>
                  <a:lnTo>
                    <a:pt x="8" y="168"/>
                  </a:lnTo>
                  <a:lnTo>
                    <a:pt x="16" y="224"/>
                  </a:lnTo>
                  <a:lnTo>
                    <a:pt x="24" y="232"/>
                  </a:lnTo>
                </a:path>
              </a:pathLst>
            </a:custGeom>
            <a:grpFill/>
            <a:ln w="9525" cmpd="sng">
              <a:solidFill>
                <a:sysClr val="window" lastClr="FFFFFF"/>
              </a:solidFill>
              <a:beve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grpSp>
      <p:grpSp>
        <p:nvGrpSpPr>
          <p:cNvPr id="153" name="组合 152"/>
          <p:cNvGrpSpPr>
            <a:grpSpLocks noChangeAspect="1"/>
          </p:cNvGrpSpPr>
          <p:nvPr/>
        </p:nvGrpSpPr>
        <p:grpSpPr>
          <a:xfrm>
            <a:off x="3403711" y="2862101"/>
            <a:ext cx="2019360" cy="1363448"/>
            <a:chOff x="9576" y="6169"/>
            <a:chExt cx="2268" cy="1645"/>
          </a:xfrm>
        </p:grpSpPr>
        <p:sp>
          <p:nvSpPr>
            <p:cNvPr id="154" name="圆角矩形 19"/>
            <p:cNvSpPr/>
            <p:nvPr/>
          </p:nvSpPr>
          <p:spPr>
            <a:xfrm>
              <a:off x="9576" y="6567"/>
              <a:ext cx="2268" cy="1247"/>
            </a:xfrm>
            <a:prstGeom prst="roundRect">
              <a:avLst/>
            </a:prstGeom>
            <a:solidFill>
              <a:schemeClr val="bg1"/>
            </a:solidFill>
            <a:ln>
              <a:solidFill>
                <a:srgbClr val="137B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solidFill>
                    <a:schemeClr val="tx1"/>
                  </a:solidFill>
                  <a:uFillTx/>
                  <a:latin typeface="+mn-ea"/>
                </a:rPr>
                <a:t>65.7</a:t>
              </a:r>
              <a:r>
                <a:rPr lang="zh-CN" altLang="en-US" sz="2000" b="1">
                  <a:solidFill>
                    <a:schemeClr val="tx1"/>
                  </a:solidFill>
                  <a:uFillTx/>
                  <a:latin typeface="+mn-ea"/>
                </a:rPr>
                <a:t>万</a:t>
              </a:r>
              <a:endParaRPr lang="zh-CN" altLang="en-US" sz="2000" b="1">
                <a:solidFill>
                  <a:schemeClr val="tx1"/>
                </a:solidFill>
                <a:uFillTx/>
                <a:latin typeface="+mn-ea"/>
              </a:endParaRPr>
            </a:p>
          </p:txBody>
        </p:sp>
        <p:sp>
          <p:nvSpPr>
            <p:cNvPr id="155" name="圆角矩形 20"/>
            <p:cNvSpPr/>
            <p:nvPr/>
          </p:nvSpPr>
          <p:spPr>
            <a:xfrm>
              <a:off x="9577" y="6169"/>
              <a:ext cx="2267" cy="510"/>
            </a:xfrm>
            <a:prstGeom prst="roundRect">
              <a:avLst/>
            </a:prstGeom>
            <a:solidFill>
              <a:srgbClr val="137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a:solidFill>
                    <a:schemeClr val="bg1"/>
                  </a:solidFill>
                  <a:uFillTx/>
                  <a:latin typeface="+mn-ea"/>
                </a:rPr>
                <a:t>2016</a:t>
              </a:r>
              <a:r>
                <a:rPr lang="zh-CN" altLang="en-US" sz="1400" b="1">
                  <a:solidFill>
                    <a:schemeClr val="bg1"/>
                  </a:solidFill>
                  <a:uFillTx/>
                  <a:latin typeface="+mn-ea"/>
                </a:rPr>
                <a:t>年死亡</a:t>
              </a:r>
              <a:endParaRPr lang="zh-CN" altLang="en-US" sz="1400" b="1">
                <a:solidFill>
                  <a:schemeClr val="bg1"/>
                </a:solidFill>
                <a:uFillTx/>
                <a:latin typeface="+mn-ea"/>
              </a:endParaRPr>
            </a:p>
          </p:txBody>
        </p:sp>
      </p:grpSp>
      <p:grpSp>
        <p:nvGrpSpPr>
          <p:cNvPr id="156" name="组合 155"/>
          <p:cNvGrpSpPr>
            <a:grpSpLocks noChangeAspect="1"/>
          </p:cNvGrpSpPr>
          <p:nvPr/>
        </p:nvGrpSpPr>
        <p:grpSpPr>
          <a:xfrm>
            <a:off x="1314852" y="2862101"/>
            <a:ext cx="2019360" cy="1341896"/>
            <a:chOff x="5188" y="5863"/>
            <a:chExt cx="2268" cy="1619"/>
          </a:xfrm>
        </p:grpSpPr>
        <p:sp>
          <p:nvSpPr>
            <p:cNvPr id="157" name="圆角矩形 3"/>
            <p:cNvSpPr/>
            <p:nvPr/>
          </p:nvSpPr>
          <p:spPr>
            <a:xfrm>
              <a:off x="5188" y="6235"/>
              <a:ext cx="2268" cy="1247"/>
            </a:xfrm>
            <a:prstGeom prst="roundRect">
              <a:avLst/>
            </a:prstGeom>
            <a:solidFill>
              <a:schemeClr val="bg1"/>
            </a:solidFill>
            <a:ln>
              <a:solidFill>
                <a:srgbClr val="163F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solidFill>
                    <a:schemeClr val="tx1"/>
                  </a:solidFill>
                  <a:latin typeface="+mn-ea"/>
                </a:rPr>
                <a:t>82.8</a:t>
              </a:r>
              <a:r>
                <a:rPr lang="zh-CN" altLang="en-US" sz="2000" b="1">
                  <a:solidFill>
                    <a:schemeClr val="tx1"/>
                  </a:solidFill>
                  <a:uFillTx/>
                  <a:latin typeface="+mn-ea"/>
                </a:rPr>
                <a:t>万</a:t>
              </a:r>
              <a:endParaRPr lang="zh-CN" altLang="en-US" sz="2000" b="1">
                <a:solidFill>
                  <a:schemeClr val="tx1"/>
                </a:solidFill>
                <a:uFillTx/>
                <a:latin typeface="+mn-ea"/>
              </a:endParaRPr>
            </a:p>
          </p:txBody>
        </p:sp>
        <p:sp>
          <p:nvSpPr>
            <p:cNvPr id="158" name="圆角矩形 4"/>
            <p:cNvSpPr/>
            <p:nvPr/>
          </p:nvSpPr>
          <p:spPr>
            <a:xfrm>
              <a:off x="5189" y="5863"/>
              <a:ext cx="2267" cy="510"/>
            </a:xfrm>
            <a:prstGeom prst="roundRect">
              <a:avLst/>
            </a:prstGeom>
            <a:solidFill>
              <a:srgbClr val="163F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a:solidFill>
                    <a:schemeClr val="bg1"/>
                  </a:solidFill>
                  <a:uFillTx/>
                  <a:latin typeface="+mn-ea"/>
                </a:rPr>
                <a:t>2016</a:t>
              </a:r>
              <a:r>
                <a:rPr lang="zh-CN" altLang="en-US" sz="1400" b="1">
                  <a:solidFill>
                    <a:schemeClr val="bg1"/>
                  </a:solidFill>
                  <a:uFillTx/>
                  <a:latin typeface="+mn-ea"/>
                </a:rPr>
                <a:t>年新发</a:t>
              </a:r>
              <a:endParaRPr lang="zh-CN" altLang="en-US" sz="1400" b="1">
                <a:solidFill>
                  <a:schemeClr val="bg1"/>
                </a:solidFill>
                <a:uFillTx/>
                <a:latin typeface="+mn-ea"/>
              </a:endParaRPr>
            </a:p>
          </p:txBody>
        </p:sp>
      </p:grpSp>
      <p:sp>
        <p:nvSpPr>
          <p:cNvPr id="159" name="矩形 158"/>
          <p:cNvSpPr/>
          <p:nvPr/>
        </p:nvSpPr>
        <p:spPr>
          <a:xfrm>
            <a:off x="1584094" y="5565239"/>
            <a:ext cx="3869782" cy="861774"/>
          </a:xfrm>
          <a:prstGeom prst="rect">
            <a:avLst/>
          </a:prstGeom>
        </p:spPr>
        <p:txBody>
          <a:bodyPr wrap="square">
            <a:spAutoFit/>
          </a:bodyPr>
          <a:lstStyle/>
          <a:p>
            <a:pPr algn="ctr">
              <a:lnSpc>
                <a:spcPct val="125000"/>
              </a:lnSpc>
            </a:pPr>
            <a:r>
              <a:rPr lang="zh-CN" altLang="en-US" sz="2000" b="1" dirty="0">
                <a:latin typeface="+mn-ea"/>
              </a:rPr>
              <a:t>肺癌</a:t>
            </a:r>
            <a:r>
              <a:rPr lang="zh-CN" altLang="en-US" b="1" dirty="0">
                <a:latin typeface="+mn-ea"/>
              </a:rPr>
              <a:t>是中国发病率和死亡率</a:t>
            </a:r>
            <a:endParaRPr lang="zh-CN" altLang="en-US" b="1" dirty="0">
              <a:latin typeface="+mn-ea"/>
            </a:endParaRPr>
          </a:p>
          <a:p>
            <a:pPr algn="ctr">
              <a:lnSpc>
                <a:spcPct val="125000"/>
              </a:lnSpc>
            </a:pPr>
            <a:r>
              <a:rPr lang="zh-CN" altLang="en-US" b="1" dirty="0">
                <a:latin typeface="+mn-ea"/>
              </a:rPr>
              <a:t>均位居</a:t>
            </a:r>
            <a:r>
              <a:rPr lang="zh-CN" altLang="en-US" sz="2000" b="1" dirty="0">
                <a:solidFill>
                  <a:srgbClr val="C00000"/>
                </a:solidFill>
                <a:latin typeface="+mn-ea"/>
              </a:rPr>
              <a:t>首位</a:t>
            </a:r>
            <a:r>
              <a:rPr lang="zh-CN" altLang="en-US" b="1" dirty="0">
                <a:latin typeface="+mn-ea"/>
              </a:rPr>
              <a:t>的癌种</a:t>
            </a:r>
            <a:r>
              <a:rPr lang="en-US" altLang="zh-CN" sz="1600" b="1" baseline="30000" dirty="0">
                <a:latin typeface="+mn-ea"/>
              </a:rPr>
              <a:t>1</a:t>
            </a:r>
            <a:r>
              <a:rPr lang="zh-CN" altLang="en-US" sz="1600" b="1" dirty="0">
                <a:latin typeface="+mn-ea"/>
              </a:rPr>
              <a:t> </a:t>
            </a:r>
            <a:endParaRPr lang="zh-CN" altLang="en-US" sz="1600" b="1" dirty="0">
              <a:latin typeface="+mn-ea"/>
            </a:endParaRPr>
          </a:p>
        </p:txBody>
      </p:sp>
      <p:sp>
        <p:nvSpPr>
          <p:cNvPr id="165" name="文本框 164"/>
          <p:cNvSpPr txBox="1"/>
          <p:nvPr/>
        </p:nvSpPr>
        <p:spPr>
          <a:xfrm>
            <a:off x="-34070" y="6465660"/>
            <a:ext cx="6542410" cy="400110"/>
          </a:xfrm>
          <a:prstGeom prst="rect">
            <a:avLst/>
          </a:prstGeom>
          <a:noFill/>
        </p:spPr>
        <p:txBody>
          <a:bodyPr wrap="square">
            <a:spAutoFit/>
          </a:bodyPr>
          <a:lstStyle/>
          <a:p>
            <a:pPr marL="228600" indent="-228600">
              <a:buAutoNum type="arabicPeriod"/>
            </a:pPr>
            <a:r>
              <a:rPr lang="en-US" altLang="zh-CN" sz="1000" dirty="0" err="1">
                <a:latin typeface="+mn-ea"/>
              </a:rPr>
              <a:t>RongshouZhen</a:t>
            </a:r>
            <a:r>
              <a:rPr lang="en-US" altLang="zh-CN" sz="1000" dirty="0">
                <a:latin typeface="+mn-ea"/>
              </a:rPr>
              <a:t>,</a:t>
            </a:r>
            <a:r>
              <a:rPr lang="zh-CN" altLang="en-US" sz="1000" dirty="0">
                <a:latin typeface="+mn-ea"/>
              </a:rPr>
              <a:t> </a:t>
            </a:r>
            <a:r>
              <a:rPr lang="en-US" altLang="zh-CN" sz="1000" dirty="0">
                <a:latin typeface="+mn-ea"/>
              </a:rPr>
              <a:t>et</a:t>
            </a:r>
            <a:r>
              <a:rPr lang="zh-CN" altLang="en-US" sz="1000" dirty="0">
                <a:latin typeface="+mn-ea"/>
              </a:rPr>
              <a:t> </a:t>
            </a:r>
            <a:r>
              <a:rPr lang="en-US" altLang="zh-CN" sz="1000" dirty="0">
                <a:latin typeface="+mn-ea"/>
              </a:rPr>
              <a:t>al.</a:t>
            </a:r>
            <a:r>
              <a:rPr lang="zh-CN" altLang="en-US" sz="1000" dirty="0">
                <a:latin typeface="+mn-ea"/>
              </a:rPr>
              <a:t> </a:t>
            </a:r>
            <a:r>
              <a:rPr lang="en-US" altLang="zh-CN" sz="1000" dirty="0">
                <a:latin typeface="+mn-ea"/>
              </a:rPr>
              <a:t>Journal of the National Cancer Center 2 (2022) 1–9</a:t>
            </a:r>
            <a:endParaRPr lang="en-US" altLang="zh-CN" sz="1000" dirty="0">
              <a:latin typeface="+mn-ea"/>
            </a:endParaRPr>
          </a:p>
          <a:p>
            <a:pPr marL="228600" indent="-228600">
              <a:buAutoNum type="arabicPeriod"/>
            </a:pPr>
            <a:r>
              <a:rPr lang="zh-CN" altLang="en-US" sz="1000" dirty="0">
                <a:latin typeface="+mn-ea"/>
              </a:rPr>
              <a:t>高鸣</a:t>
            </a:r>
            <a:r>
              <a:rPr lang="en-US" altLang="zh-CN" sz="1000" dirty="0">
                <a:latin typeface="+mn-ea"/>
              </a:rPr>
              <a:t>, </a:t>
            </a:r>
            <a:r>
              <a:rPr lang="zh-CN" altLang="en-US" sz="1000" dirty="0">
                <a:latin typeface="+mn-ea"/>
              </a:rPr>
              <a:t>等</a:t>
            </a:r>
            <a:r>
              <a:rPr lang="en-US" altLang="zh-CN" sz="1000" dirty="0">
                <a:latin typeface="+mn-ea"/>
              </a:rPr>
              <a:t>. </a:t>
            </a:r>
            <a:r>
              <a:rPr lang="zh-CN" altLang="en-US" sz="1000" dirty="0">
                <a:latin typeface="+mn-ea"/>
              </a:rPr>
              <a:t>循证医学</a:t>
            </a:r>
            <a:r>
              <a:rPr lang="en-US" altLang="zh-CN" sz="1000" dirty="0">
                <a:latin typeface="+mn-ea"/>
              </a:rPr>
              <a:t>. 2022;22(1):1-29.</a:t>
            </a:r>
            <a:endParaRPr lang="en-US" altLang="zh-CN" sz="1000" dirty="0">
              <a:latin typeface="+mn-ea"/>
            </a:endParaRPr>
          </a:p>
        </p:txBody>
      </p:sp>
      <p:graphicFrame>
        <p:nvGraphicFramePr>
          <p:cNvPr id="11" name="图表 10"/>
          <p:cNvGraphicFramePr/>
          <p:nvPr/>
        </p:nvGraphicFramePr>
        <p:xfrm>
          <a:off x="5966861" y="1757896"/>
          <a:ext cx="5487567" cy="3836052"/>
        </p:xfrm>
        <a:graphic>
          <a:graphicData uri="http://schemas.openxmlformats.org/drawingml/2006/chart">
            <c:chart xmlns:c="http://schemas.openxmlformats.org/drawingml/2006/chart" xmlns:r="http://schemas.openxmlformats.org/officeDocument/2006/relationships" r:id="rId1"/>
          </a:graphicData>
        </a:graphic>
      </p:graphicFrame>
      <p:sp>
        <p:nvSpPr>
          <p:cNvPr id="12" name="椭圆 11"/>
          <p:cNvSpPr/>
          <p:nvPr/>
        </p:nvSpPr>
        <p:spPr>
          <a:xfrm>
            <a:off x="7363496" y="2308773"/>
            <a:ext cx="2694296" cy="2734299"/>
          </a:xfrm>
          <a:prstGeom prst="ellipse">
            <a:avLst/>
          </a:prstGeom>
          <a:noFill/>
          <a:ln w="28575" cap="flat" cmpd="sng" algn="ctr">
            <a:gradFill flip="none" rotWithShape="1">
              <a:gsLst>
                <a:gs pos="100000">
                  <a:srgbClr val="C7C7C7"/>
                </a:gs>
                <a:gs pos="0">
                  <a:srgbClr val="FFFFFF"/>
                </a:gs>
              </a:gsLst>
              <a:lin ang="270000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a:ln>
                  <a:noFill/>
                </a:ln>
                <a:solidFill>
                  <a:srgbClr val="FFFFFF"/>
                </a:solidFill>
                <a:effectLst/>
                <a:uLnTx/>
                <a:uFillTx/>
                <a:latin typeface="+mn-ea"/>
                <a:cs typeface="+mn-cs"/>
              </a:rPr>
              <a:t> 	</a:t>
            </a: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3" name="椭圆 12"/>
          <p:cNvSpPr/>
          <p:nvPr/>
        </p:nvSpPr>
        <p:spPr>
          <a:xfrm>
            <a:off x="6982917" y="1989926"/>
            <a:ext cx="3360206" cy="3410095"/>
          </a:xfrm>
          <a:prstGeom prst="ellipse">
            <a:avLst/>
          </a:prstGeom>
          <a:noFill/>
          <a:ln w="28575" cap="flat" cmpd="sng" algn="ctr">
            <a:gradFill flip="none" rotWithShape="1">
              <a:gsLst>
                <a:gs pos="0">
                  <a:srgbClr val="CFCFCF"/>
                </a:gs>
                <a:gs pos="100000">
                  <a:srgbClr val="FFFFFF"/>
                </a:gs>
              </a:gsLst>
              <a:lin ang="2700000" scaled="1"/>
              <a:tileRect/>
            </a:gradFill>
            <a:prstDash val="solid"/>
          </a:ln>
          <a:effectLst>
            <a:innerShdw blurRad="76200" dist="25400" dir="13500000">
              <a:prstClr val="black">
                <a:alpha val="31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a:ln>
                  <a:noFill/>
                </a:ln>
                <a:solidFill>
                  <a:srgbClr val="FFFFFF"/>
                </a:solidFill>
                <a:effectLst/>
                <a:uLnTx/>
                <a:uFillTx/>
                <a:latin typeface="+mn-ea"/>
                <a:cs typeface="+mn-cs"/>
              </a:rPr>
              <a:t> 	</a:t>
            </a: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4" name="椭圆 13"/>
          <p:cNvSpPr/>
          <p:nvPr/>
        </p:nvSpPr>
        <p:spPr>
          <a:xfrm>
            <a:off x="8548617" y="1950991"/>
            <a:ext cx="324056" cy="328867"/>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5" name="椭圆 14"/>
          <p:cNvSpPr/>
          <p:nvPr/>
        </p:nvSpPr>
        <p:spPr>
          <a:xfrm>
            <a:off x="8640245" y="2040336"/>
            <a:ext cx="140798" cy="142889"/>
          </a:xfrm>
          <a:prstGeom prst="ellipse">
            <a:avLst/>
          </a:prstGeom>
          <a:solidFill>
            <a:srgbClr val="FFFFFF">
              <a:lumMod val="50000"/>
            </a:srgbClr>
          </a:solidFill>
          <a:ln w="25400" cap="flat" cmpd="sng" algn="ctr">
            <a:noFill/>
            <a:prstDash val="solid"/>
          </a:ln>
          <a:effectLst>
            <a:outerShdw blurRad="38100" dist="12700" dir="2700000" algn="tl"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grpSp>
        <p:nvGrpSpPr>
          <p:cNvPr id="16" name="组合 15"/>
          <p:cNvGrpSpPr/>
          <p:nvPr/>
        </p:nvGrpSpPr>
        <p:grpSpPr>
          <a:xfrm>
            <a:off x="7406110" y="2352017"/>
            <a:ext cx="2609074" cy="2647812"/>
            <a:chOff x="5069549" y="2402548"/>
            <a:chExt cx="2052904" cy="2052904"/>
          </a:xfrm>
        </p:grpSpPr>
        <p:cxnSp>
          <p:nvCxnSpPr>
            <p:cNvPr id="17" name="直接连接符 16"/>
            <p:cNvCxnSpPr/>
            <p:nvPr/>
          </p:nvCxnSpPr>
          <p:spPr>
            <a:xfrm>
              <a:off x="5069549" y="3429001"/>
              <a:ext cx="114351" cy="0"/>
            </a:xfrm>
            <a:prstGeom prst="line">
              <a:avLst/>
            </a:prstGeom>
            <a:noFill/>
            <a:ln w="12700" cap="flat" cmpd="sng" algn="ctr">
              <a:solidFill>
                <a:srgbClr val="FFFFFF">
                  <a:lumMod val="85000"/>
                </a:srgbClr>
              </a:solidFill>
              <a:prstDash val="solid"/>
            </a:ln>
            <a:effectLst/>
          </p:spPr>
        </p:cxnSp>
        <p:cxnSp>
          <p:nvCxnSpPr>
            <p:cNvPr id="18" name="直接连接符 17"/>
            <p:cNvCxnSpPr/>
            <p:nvPr/>
          </p:nvCxnSpPr>
          <p:spPr>
            <a:xfrm rot="216000">
              <a:off x="5071462" y="3368139"/>
              <a:ext cx="114351" cy="0"/>
            </a:xfrm>
            <a:prstGeom prst="line">
              <a:avLst/>
            </a:prstGeom>
            <a:noFill/>
            <a:ln w="12700" cap="flat" cmpd="sng" algn="ctr">
              <a:solidFill>
                <a:srgbClr val="FFFFFF">
                  <a:lumMod val="85000"/>
                </a:srgbClr>
              </a:solidFill>
              <a:prstDash val="solid"/>
            </a:ln>
            <a:effectLst/>
          </p:spPr>
        </p:cxnSp>
        <p:cxnSp>
          <p:nvCxnSpPr>
            <p:cNvPr id="19" name="直接连接符 18"/>
            <p:cNvCxnSpPr/>
            <p:nvPr/>
          </p:nvCxnSpPr>
          <p:spPr>
            <a:xfrm rot="432000">
              <a:off x="5077192" y="3307518"/>
              <a:ext cx="114351" cy="0"/>
            </a:xfrm>
            <a:prstGeom prst="line">
              <a:avLst/>
            </a:prstGeom>
            <a:noFill/>
            <a:ln w="12700" cap="flat" cmpd="sng" algn="ctr">
              <a:solidFill>
                <a:srgbClr val="FFFFFF">
                  <a:lumMod val="85000"/>
                </a:srgbClr>
              </a:solidFill>
              <a:prstDash val="solid"/>
            </a:ln>
            <a:effectLst/>
          </p:spPr>
        </p:cxnSp>
        <p:cxnSp>
          <p:nvCxnSpPr>
            <p:cNvPr id="20" name="直接连接符 19"/>
            <p:cNvCxnSpPr/>
            <p:nvPr/>
          </p:nvCxnSpPr>
          <p:spPr>
            <a:xfrm rot="648000">
              <a:off x="5086717" y="3247376"/>
              <a:ext cx="114351" cy="0"/>
            </a:xfrm>
            <a:prstGeom prst="line">
              <a:avLst/>
            </a:prstGeom>
            <a:noFill/>
            <a:ln w="12700" cap="flat" cmpd="sng" algn="ctr">
              <a:solidFill>
                <a:srgbClr val="FFFFFF">
                  <a:lumMod val="85000"/>
                </a:srgbClr>
              </a:solidFill>
              <a:prstDash val="solid"/>
            </a:ln>
            <a:effectLst/>
          </p:spPr>
        </p:cxnSp>
        <p:cxnSp>
          <p:nvCxnSpPr>
            <p:cNvPr id="21" name="直接连接符 20"/>
            <p:cNvCxnSpPr/>
            <p:nvPr/>
          </p:nvCxnSpPr>
          <p:spPr>
            <a:xfrm rot="864000">
              <a:off x="5100000" y="3187951"/>
              <a:ext cx="114351" cy="0"/>
            </a:xfrm>
            <a:prstGeom prst="line">
              <a:avLst/>
            </a:prstGeom>
            <a:noFill/>
            <a:ln w="12700" cap="flat" cmpd="sng" algn="ctr">
              <a:solidFill>
                <a:srgbClr val="FFFFFF">
                  <a:lumMod val="85000"/>
                </a:srgbClr>
              </a:solidFill>
              <a:prstDash val="solid"/>
            </a:ln>
            <a:effectLst/>
          </p:spPr>
        </p:cxnSp>
        <p:cxnSp>
          <p:nvCxnSpPr>
            <p:cNvPr id="22" name="直接连接符 21"/>
            <p:cNvCxnSpPr/>
            <p:nvPr/>
          </p:nvCxnSpPr>
          <p:spPr>
            <a:xfrm rot="1080000">
              <a:off x="5116989" y="3129477"/>
              <a:ext cx="114351" cy="0"/>
            </a:xfrm>
            <a:prstGeom prst="line">
              <a:avLst/>
            </a:prstGeom>
            <a:noFill/>
            <a:ln w="12700" cap="flat" cmpd="sng" algn="ctr">
              <a:solidFill>
                <a:srgbClr val="FFFFFF">
                  <a:lumMod val="85000"/>
                </a:srgbClr>
              </a:solidFill>
              <a:prstDash val="solid"/>
            </a:ln>
            <a:effectLst/>
          </p:spPr>
        </p:cxnSp>
        <p:cxnSp>
          <p:nvCxnSpPr>
            <p:cNvPr id="23" name="直接连接符 22"/>
            <p:cNvCxnSpPr/>
            <p:nvPr/>
          </p:nvCxnSpPr>
          <p:spPr>
            <a:xfrm rot="1296000">
              <a:off x="5137615" y="3072186"/>
              <a:ext cx="114351" cy="0"/>
            </a:xfrm>
            <a:prstGeom prst="line">
              <a:avLst/>
            </a:prstGeom>
            <a:noFill/>
            <a:ln w="12700" cap="flat" cmpd="sng" algn="ctr">
              <a:solidFill>
                <a:srgbClr val="FFFFFF">
                  <a:lumMod val="85000"/>
                </a:srgbClr>
              </a:solidFill>
              <a:prstDash val="solid"/>
            </a:ln>
            <a:effectLst/>
          </p:spPr>
        </p:cxnSp>
        <p:cxnSp>
          <p:nvCxnSpPr>
            <p:cNvPr id="24" name="直接连接符 23"/>
            <p:cNvCxnSpPr/>
            <p:nvPr/>
          </p:nvCxnSpPr>
          <p:spPr>
            <a:xfrm rot="1512000">
              <a:off x="5161798" y="3016303"/>
              <a:ext cx="114351" cy="0"/>
            </a:xfrm>
            <a:prstGeom prst="line">
              <a:avLst/>
            </a:prstGeom>
            <a:noFill/>
            <a:ln w="12700" cap="flat" cmpd="sng" algn="ctr">
              <a:solidFill>
                <a:srgbClr val="FFFFFF">
                  <a:lumMod val="85000"/>
                </a:srgbClr>
              </a:solidFill>
              <a:prstDash val="solid"/>
            </a:ln>
            <a:effectLst/>
          </p:spPr>
        </p:cxnSp>
        <p:cxnSp>
          <p:nvCxnSpPr>
            <p:cNvPr id="25" name="直接连接符 24"/>
            <p:cNvCxnSpPr/>
            <p:nvPr/>
          </p:nvCxnSpPr>
          <p:spPr>
            <a:xfrm rot="1728000">
              <a:off x="5189442" y="2962048"/>
              <a:ext cx="114351" cy="0"/>
            </a:xfrm>
            <a:prstGeom prst="line">
              <a:avLst/>
            </a:prstGeom>
            <a:noFill/>
            <a:ln w="12700" cap="flat" cmpd="sng" algn="ctr">
              <a:solidFill>
                <a:srgbClr val="FFFFFF">
                  <a:lumMod val="85000"/>
                </a:srgbClr>
              </a:solidFill>
              <a:prstDash val="solid"/>
            </a:ln>
            <a:effectLst/>
          </p:spPr>
        </p:cxnSp>
        <p:cxnSp>
          <p:nvCxnSpPr>
            <p:cNvPr id="26" name="直接连接符 25"/>
            <p:cNvCxnSpPr/>
            <p:nvPr/>
          </p:nvCxnSpPr>
          <p:spPr>
            <a:xfrm rot="1944000">
              <a:off x="5220439" y="2909636"/>
              <a:ext cx="114351" cy="0"/>
            </a:xfrm>
            <a:prstGeom prst="line">
              <a:avLst/>
            </a:prstGeom>
            <a:noFill/>
            <a:ln w="12700" cap="flat" cmpd="sng" algn="ctr">
              <a:solidFill>
                <a:srgbClr val="FFFFFF">
                  <a:lumMod val="85000"/>
                </a:srgbClr>
              </a:solidFill>
              <a:prstDash val="solid"/>
            </a:ln>
            <a:effectLst/>
          </p:spPr>
        </p:cxnSp>
        <p:cxnSp>
          <p:nvCxnSpPr>
            <p:cNvPr id="27" name="直接连接符 26"/>
            <p:cNvCxnSpPr/>
            <p:nvPr/>
          </p:nvCxnSpPr>
          <p:spPr>
            <a:xfrm rot="2160000">
              <a:off x="5254664" y="2859274"/>
              <a:ext cx="114351" cy="0"/>
            </a:xfrm>
            <a:prstGeom prst="line">
              <a:avLst/>
            </a:prstGeom>
            <a:noFill/>
            <a:ln w="12700" cap="flat" cmpd="sng" algn="ctr">
              <a:solidFill>
                <a:srgbClr val="FFFFFF">
                  <a:lumMod val="85000"/>
                </a:srgbClr>
              </a:solidFill>
              <a:prstDash val="solid"/>
            </a:ln>
            <a:effectLst/>
          </p:spPr>
        </p:cxnSp>
        <p:cxnSp>
          <p:nvCxnSpPr>
            <p:cNvPr id="28" name="直接连接符 27"/>
            <p:cNvCxnSpPr/>
            <p:nvPr/>
          </p:nvCxnSpPr>
          <p:spPr>
            <a:xfrm rot="2376000">
              <a:off x="5291985" y="2811161"/>
              <a:ext cx="114351" cy="0"/>
            </a:xfrm>
            <a:prstGeom prst="line">
              <a:avLst/>
            </a:prstGeom>
            <a:noFill/>
            <a:ln w="12700" cap="flat" cmpd="sng" algn="ctr">
              <a:solidFill>
                <a:srgbClr val="FFFFFF">
                  <a:lumMod val="85000"/>
                </a:srgbClr>
              </a:solidFill>
              <a:prstDash val="solid"/>
            </a:ln>
            <a:effectLst/>
          </p:spPr>
        </p:cxnSp>
        <p:cxnSp>
          <p:nvCxnSpPr>
            <p:cNvPr id="29" name="直接连接符 28"/>
            <p:cNvCxnSpPr/>
            <p:nvPr/>
          </p:nvCxnSpPr>
          <p:spPr>
            <a:xfrm rot="2592000">
              <a:off x="5332253" y="2765485"/>
              <a:ext cx="114351" cy="0"/>
            </a:xfrm>
            <a:prstGeom prst="line">
              <a:avLst/>
            </a:prstGeom>
            <a:noFill/>
            <a:ln w="12700" cap="flat" cmpd="sng" algn="ctr">
              <a:solidFill>
                <a:srgbClr val="FFFFFF">
                  <a:lumMod val="85000"/>
                </a:srgbClr>
              </a:solidFill>
              <a:prstDash val="solid"/>
            </a:ln>
            <a:effectLst/>
          </p:spPr>
        </p:cxnSp>
        <p:cxnSp>
          <p:nvCxnSpPr>
            <p:cNvPr id="30" name="直接连接符 29"/>
            <p:cNvCxnSpPr/>
            <p:nvPr/>
          </p:nvCxnSpPr>
          <p:spPr>
            <a:xfrm rot="2808000">
              <a:off x="5375310" y="2722429"/>
              <a:ext cx="114351" cy="0"/>
            </a:xfrm>
            <a:prstGeom prst="line">
              <a:avLst/>
            </a:prstGeom>
            <a:noFill/>
            <a:ln w="12700" cap="flat" cmpd="sng" algn="ctr">
              <a:solidFill>
                <a:srgbClr val="FFFFFF">
                  <a:lumMod val="85000"/>
                </a:srgbClr>
              </a:solidFill>
              <a:prstDash val="solid"/>
            </a:ln>
            <a:effectLst/>
          </p:spPr>
        </p:cxnSp>
        <p:cxnSp>
          <p:nvCxnSpPr>
            <p:cNvPr id="31" name="直接连接符 30"/>
            <p:cNvCxnSpPr/>
            <p:nvPr/>
          </p:nvCxnSpPr>
          <p:spPr>
            <a:xfrm rot="3024000">
              <a:off x="5420986" y="2682160"/>
              <a:ext cx="114351" cy="0"/>
            </a:xfrm>
            <a:prstGeom prst="line">
              <a:avLst/>
            </a:prstGeom>
            <a:noFill/>
            <a:ln w="12700" cap="flat" cmpd="sng" algn="ctr">
              <a:solidFill>
                <a:srgbClr val="FFFFFF">
                  <a:lumMod val="85000"/>
                </a:srgbClr>
              </a:solidFill>
              <a:prstDash val="solid"/>
            </a:ln>
            <a:effectLst/>
          </p:spPr>
        </p:cxnSp>
        <p:cxnSp>
          <p:nvCxnSpPr>
            <p:cNvPr id="32" name="直接连接符 31"/>
            <p:cNvCxnSpPr/>
            <p:nvPr/>
          </p:nvCxnSpPr>
          <p:spPr>
            <a:xfrm rot="3240000">
              <a:off x="5469099" y="2644839"/>
              <a:ext cx="114351" cy="0"/>
            </a:xfrm>
            <a:prstGeom prst="line">
              <a:avLst/>
            </a:prstGeom>
            <a:noFill/>
            <a:ln w="12700" cap="flat" cmpd="sng" algn="ctr">
              <a:solidFill>
                <a:srgbClr val="FFFFFF">
                  <a:lumMod val="85000"/>
                </a:srgbClr>
              </a:solidFill>
              <a:prstDash val="solid"/>
            </a:ln>
            <a:effectLst/>
          </p:spPr>
        </p:cxnSp>
        <p:cxnSp>
          <p:nvCxnSpPr>
            <p:cNvPr id="33" name="直接连接符 32"/>
            <p:cNvCxnSpPr/>
            <p:nvPr/>
          </p:nvCxnSpPr>
          <p:spPr>
            <a:xfrm rot="3456000">
              <a:off x="5519461" y="2610613"/>
              <a:ext cx="114351" cy="0"/>
            </a:xfrm>
            <a:prstGeom prst="line">
              <a:avLst/>
            </a:prstGeom>
            <a:noFill/>
            <a:ln w="12700" cap="flat" cmpd="sng" algn="ctr">
              <a:solidFill>
                <a:srgbClr val="FFFFFF">
                  <a:lumMod val="85000"/>
                </a:srgbClr>
              </a:solidFill>
              <a:prstDash val="solid"/>
            </a:ln>
            <a:effectLst/>
          </p:spPr>
        </p:cxnSp>
        <p:cxnSp>
          <p:nvCxnSpPr>
            <p:cNvPr id="34" name="直接连接符 33"/>
            <p:cNvCxnSpPr/>
            <p:nvPr/>
          </p:nvCxnSpPr>
          <p:spPr>
            <a:xfrm rot="3672000">
              <a:off x="5571873" y="2579617"/>
              <a:ext cx="114351" cy="0"/>
            </a:xfrm>
            <a:prstGeom prst="line">
              <a:avLst/>
            </a:prstGeom>
            <a:noFill/>
            <a:ln w="12700" cap="flat" cmpd="sng" algn="ctr">
              <a:solidFill>
                <a:srgbClr val="FFFFFF">
                  <a:lumMod val="85000"/>
                </a:srgbClr>
              </a:solidFill>
              <a:prstDash val="solid"/>
            </a:ln>
            <a:effectLst/>
          </p:spPr>
        </p:cxnSp>
        <p:cxnSp>
          <p:nvCxnSpPr>
            <p:cNvPr id="35" name="直接连接符 34"/>
            <p:cNvCxnSpPr/>
            <p:nvPr/>
          </p:nvCxnSpPr>
          <p:spPr>
            <a:xfrm rot="3888000">
              <a:off x="5626127" y="2551973"/>
              <a:ext cx="114351" cy="0"/>
            </a:xfrm>
            <a:prstGeom prst="line">
              <a:avLst/>
            </a:prstGeom>
            <a:noFill/>
            <a:ln w="12700" cap="flat" cmpd="sng" algn="ctr">
              <a:solidFill>
                <a:srgbClr val="FFFFFF">
                  <a:lumMod val="85000"/>
                </a:srgbClr>
              </a:solidFill>
              <a:prstDash val="solid"/>
            </a:ln>
            <a:effectLst/>
          </p:spPr>
        </p:cxnSp>
        <p:cxnSp>
          <p:nvCxnSpPr>
            <p:cNvPr id="36" name="直接连接符 35"/>
            <p:cNvCxnSpPr/>
            <p:nvPr/>
          </p:nvCxnSpPr>
          <p:spPr>
            <a:xfrm rot="4104000">
              <a:off x="5682011" y="2527790"/>
              <a:ext cx="114351" cy="0"/>
            </a:xfrm>
            <a:prstGeom prst="line">
              <a:avLst/>
            </a:prstGeom>
            <a:noFill/>
            <a:ln w="12700" cap="flat" cmpd="sng" algn="ctr">
              <a:solidFill>
                <a:srgbClr val="FFFFFF">
                  <a:lumMod val="85000"/>
                </a:srgbClr>
              </a:solidFill>
              <a:prstDash val="solid"/>
            </a:ln>
            <a:effectLst/>
          </p:spPr>
        </p:cxnSp>
        <p:cxnSp>
          <p:nvCxnSpPr>
            <p:cNvPr id="37" name="直接连接符 36"/>
            <p:cNvCxnSpPr/>
            <p:nvPr/>
          </p:nvCxnSpPr>
          <p:spPr>
            <a:xfrm rot="4320000">
              <a:off x="5739302" y="2507164"/>
              <a:ext cx="114351" cy="0"/>
            </a:xfrm>
            <a:prstGeom prst="line">
              <a:avLst/>
            </a:prstGeom>
            <a:noFill/>
            <a:ln w="12700" cap="flat" cmpd="sng" algn="ctr">
              <a:solidFill>
                <a:srgbClr val="FFFFFF">
                  <a:lumMod val="85000"/>
                </a:srgbClr>
              </a:solidFill>
              <a:prstDash val="solid"/>
            </a:ln>
            <a:effectLst/>
          </p:spPr>
        </p:cxnSp>
        <p:cxnSp>
          <p:nvCxnSpPr>
            <p:cNvPr id="38" name="直接连接符 37"/>
            <p:cNvCxnSpPr/>
            <p:nvPr/>
          </p:nvCxnSpPr>
          <p:spPr>
            <a:xfrm rot="4536000">
              <a:off x="5797776" y="2490176"/>
              <a:ext cx="114351" cy="0"/>
            </a:xfrm>
            <a:prstGeom prst="line">
              <a:avLst/>
            </a:prstGeom>
            <a:noFill/>
            <a:ln w="12700" cap="flat" cmpd="sng" algn="ctr">
              <a:solidFill>
                <a:srgbClr val="FFFFFF">
                  <a:lumMod val="85000"/>
                </a:srgbClr>
              </a:solidFill>
              <a:prstDash val="solid"/>
            </a:ln>
            <a:effectLst/>
          </p:spPr>
        </p:cxnSp>
        <p:cxnSp>
          <p:nvCxnSpPr>
            <p:cNvPr id="39" name="直接连接符 38"/>
            <p:cNvCxnSpPr/>
            <p:nvPr/>
          </p:nvCxnSpPr>
          <p:spPr>
            <a:xfrm rot="4752000">
              <a:off x="5857201" y="2476893"/>
              <a:ext cx="114351" cy="0"/>
            </a:xfrm>
            <a:prstGeom prst="line">
              <a:avLst/>
            </a:prstGeom>
            <a:noFill/>
            <a:ln w="12700" cap="flat" cmpd="sng" algn="ctr">
              <a:solidFill>
                <a:srgbClr val="FFFFFF">
                  <a:lumMod val="85000"/>
                </a:srgbClr>
              </a:solidFill>
              <a:prstDash val="solid"/>
            </a:ln>
            <a:effectLst/>
          </p:spPr>
        </p:cxnSp>
        <p:cxnSp>
          <p:nvCxnSpPr>
            <p:cNvPr id="40" name="直接连接符 39"/>
            <p:cNvCxnSpPr/>
            <p:nvPr/>
          </p:nvCxnSpPr>
          <p:spPr>
            <a:xfrm rot="4968000">
              <a:off x="5917343" y="2467367"/>
              <a:ext cx="114351" cy="0"/>
            </a:xfrm>
            <a:prstGeom prst="line">
              <a:avLst/>
            </a:prstGeom>
            <a:noFill/>
            <a:ln w="12700" cap="flat" cmpd="sng" algn="ctr">
              <a:solidFill>
                <a:srgbClr val="FFFFFF">
                  <a:lumMod val="85000"/>
                </a:srgbClr>
              </a:solidFill>
              <a:prstDash val="solid"/>
            </a:ln>
            <a:effectLst/>
          </p:spPr>
        </p:cxnSp>
        <p:cxnSp>
          <p:nvCxnSpPr>
            <p:cNvPr id="41" name="直接连接符 40"/>
            <p:cNvCxnSpPr/>
            <p:nvPr/>
          </p:nvCxnSpPr>
          <p:spPr>
            <a:xfrm rot="5184000">
              <a:off x="5977964" y="2461637"/>
              <a:ext cx="114351" cy="0"/>
            </a:xfrm>
            <a:prstGeom prst="line">
              <a:avLst/>
            </a:prstGeom>
            <a:noFill/>
            <a:ln w="12700" cap="flat" cmpd="sng" algn="ctr">
              <a:solidFill>
                <a:srgbClr val="FFFFFF">
                  <a:lumMod val="85000"/>
                </a:srgbClr>
              </a:solidFill>
              <a:prstDash val="solid"/>
            </a:ln>
            <a:effectLst/>
          </p:spPr>
        </p:cxnSp>
        <p:cxnSp>
          <p:nvCxnSpPr>
            <p:cNvPr id="42" name="直接连接符 41"/>
            <p:cNvCxnSpPr/>
            <p:nvPr/>
          </p:nvCxnSpPr>
          <p:spPr>
            <a:xfrm rot="5400000">
              <a:off x="6038825" y="2459724"/>
              <a:ext cx="114351" cy="0"/>
            </a:xfrm>
            <a:prstGeom prst="line">
              <a:avLst/>
            </a:prstGeom>
            <a:noFill/>
            <a:ln w="12700" cap="flat" cmpd="sng" algn="ctr">
              <a:solidFill>
                <a:srgbClr val="FFFFFF">
                  <a:lumMod val="85000"/>
                </a:srgbClr>
              </a:solidFill>
              <a:prstDash val="solid"/>
            </a:ln>
            <a:effectLst/>
          </p:spPr>
        </p:cxnSp>
        <p:cxnSp>
          <p:nvCxnSpPr>
            <p:cNvPr id="43" name="直接连接符 42"/>
            <p:cNvCxnSpPr/>
            <p:nvPr/>
          </p:nvCxnSpPr>
          <p:spPr>
            <a:xfrm rot="5616000">
              <a:off x="6099687" y="2461637"/>
              <a:ext cx="114351" cy="0"/>
            </a:xfrm>
            <a:prstGeom prst="line">
              <a:avLst/>
            </a:prstGeom>
            <a:noFill/>
            <a:ln w="12700" cap="flat" cmpd="sng" algn="ctr">
              <a:solidFill>
                <a:srgbClr val="FFFFFF">
                  <a:lumMod val="85000"/>
                </a:srgbClr>
              </a:solidFill>
              <a:prstDash val="solid"/>
            </a:ln>
            <a:effectLst/>
          </p:spPr>
        </p:cxnSp>
        <p:cxnSp>
          <p:nvCxnSpPr>
            <p:cNvPr id="44" name="直接连接符 43"/>
            <p:cNvCxnSpPr/>
            <p:nvPr/>
          </p:nvCxnSpPr>
          <p:spPr>
            <a:xfrm rot="5832000">
              <a:off x="6160308" y="2467367"/>
              <a:ext cx="114351" cy="0"/>
            </a:xfrm>
            <a:prstGeom prst="line">
              <a:avLst/>
            </a:prstGeom>
            <a:noFill/>
            <a:ln w="12700" cap="flat" cmpd="sng" algn="ctr">
              <a:solidFill>
                <a:srgbClr val="FFFFFF">
                  <a:lumMod val="85000"/>
                </a:srgbClr>
              </a:solidFill>
              <a:prstDash val="solid"/>
            </a:ln>
            <a:effectLst/>
          </p:spPr>
        </p:cxnSp>
        <p:cxnSp>
          <p:nvCxnSpPr>
            <p:cNvPr id="45" name="直接连接符 44"/>
            <p:cNvCxnSpPr/>
            <p:nvPr/>
          </p:nvCxnSpPr>
          <p:spPr>
            <a:xfrm rot="6048000">
              <a:off x="6220449" y="2476893"/>
              <a:ext cx="114351" cy="0"/>
            </a:xfrm>
            <a:prstGeom prst="line">
              <a:avLst/>
            </a:prstGeom>
            <a:noFill/>
            <a:ln w="12700" cap="flat" cmpd="sng" algn="ctr">
              <a:solidFill>
                <a:srgbClr val="FFFFFF">
                  <a:lumMod val="85000"/>
                </a:srgbClr>
              </a:solidFill>
              <a:prstDash val="solid"/>
            </a:ln>
            <a:effectLst/>
          </p:spPr>
        </p:cxnSp>
        <p:cxnSp>
          <p:nvCxnSpPr>
            <p:cNvPr id="46" name="直接连接符 45"/>
            <p:cNvCxnSpPr/>
            <p:nvPr/>
          </p:nvCxnSpPr>
          <p:spPr>
            <a:xfrm rot="6264000">
              <a:off x="6279874" y="2490176"/>
              <a:ext cx="114351" cy="0"/>
            </a:xfrm>
            <a:prstGeom prst="line">
              <a:avLst/>
            </a:prstGeom>
            <a:noFill/>
            <a:ln w="12700" cap="flat" cmpd="sng" algn="ctr">
              <a:solidFill>
                <a:srgbClr val="FFFFFF">
                  <a:lumMod val="85000"/>
                </a:srgbClr>
              </a:solidFill>
              <a:prstDash val="solid"/>
            </a:ln>
            <a:effectLst/>
          </p:spPr>
        </p:cxnSp>
        <p:cxnSp>
          <p:nvCxnSpPr>
            <p:cNvPr id="47" name="直接连接符 46"/>
            <p:cNvCxnSpPr/>
            <p:nvPr/>
          </p:nvCxnSpPr>
          <p:spPr>
            <a:xfrm rot="6480000">
              <a:off x="6338348" y="2507164"/>
              <a:ext cx="114351" cy="0"/>
            </a:xfrm>
            <a:prstGeom prst="line">
              <a:avLst/>
            </a:prstGeom>
            <a:noFill/>
            <a:ln w="12700" cap="flat" cmpd="sng" algn="ctr">
              <a:solidFill>
                <a:srgbClr val="FFFFFF">
                  <a:lumMod val="85000"/>
                </a:srgbClr>
              </a:solidFill>
              <a:prstDash val="solid"/>
            </a:ln>
            <a:effectLst/>
          </p:spPr>
        </p:cxnSp>
        <p:cxnSp>
          <p:nvCxnSpPr>
            <p:cNvPr id="48" name="直接连接符 47"/>
            <p:cNvCxnSpPr/>
            <p:nvPr/>
          </p:nvCxnSpPr>
          <p:spPr>
            <a:xfrm rot="6696000">
              <a:off x="6395640" y="2527790"/>
              <a:ext cx="114351" cy="0"/>
            </a:xfrm>
            <a:prstGeom prst="line">
              <a:avLst/>
            </a:prstGeom>
            <a:noFill/>
            <a:ln w="12700" cap="flat" cmpd="sng" algn="ctr">
              <a:solidFill>
                <a:srgbClr val="FFFFFF">
                  <a:lumMod val="85000"/>
                </a:srgbClr>
              </a:solidFill>
              <a:prstDash val="solid"/>
            </a:ln>
            <a:effectLst/>
          </p:spPr>
        </p:cxnSp>
        <p:cxnSp>
          <p:nvCxnSpPr>
            <p:cNvPr id="49" name="直接连接符 48"/>
            <p:cNvCxnSpPr/>
            <p:nvPr/>
          </p:nvCxnSpPr>
          <p:spPr>
            <a:xfrm rot="6912000">
              <a:off x="6451523" y="2551973"/>
              <a:ext cx="114351" cy="0"/>
            </a:xfrm>
            <a:prstGeom prst="line">
              <a:avLst/>
            </a:prstGeom>
            <a:noFill/>
            <a:ln w="12700" cap="flat" cmpd="sng" algn="ctr">
              <a:solidFill>
                <a:srgbClr val="FFFFFF">
                  <a:lumMod val="85000"/>
                </a:srgbClr>
              </a:solidFill>
              <a:prstDash val="solid"/>
            </a:ln>
            <a:effectLst/>
          </p:spPr>
        </p:cxnSp>
        <p:cxnSp>
          <p:nvCxnSpPr>
            <p:cNvPr id="50" name="直接连接符 49"/>
            <p:cNvCxnSpPr/>
            <p:nvPr/>
          </p:nvCxnSpPr>
          <p:spPr>
            <a:xfrm rot="7128000">
              <a:off x="6505778" y="2579617"/>
              <a:ext cx="114351" cy="0"/>
            </a:xfrm>
            <a:prstGeom prst="line">
              <a:avLst/>
            </a:prstGeom>
            <a:noFill/>
            <a:ln w="12700" cap="flat" cmpd="sng" algn="ctr">
              <a:solidFill>
                <a:srgbClr val="FFFFFF">
                  <a:lumMod val="85000"/>
                </a:srgbClr>
              </a:solidFill>
              <a:prstDash val="solid"/>
            </a:ln>
            <a:effectLst/>
          </p:spPr>
        </p:cxnSp>
        <p:cxnSp>
          <p:nvCxnSpPr>
            <p:cNvPr id="51" name="直接连接符 50"/>
            <p:cNvCxnSpPr/>
            <p:nvPr/>
          </p:nvCxnSpPr>
          <p:spPr>
            <a:xfrm rot="7344000">
              <a:off x="6558189" y="2610613"/>
              <a:ext cx="114351" cy="0"/>
            </a:xfrm>
            <a:prstGeom prst="line">
              <a:avLst/>
            </a:prstGeom>
            <a:noFill/>
            <a:ln w="12700" cap="flat" cmpd="sng" algn="ctr">
              <a:solidFill>
                <a:srgbClr val="FFFFFF">
                  <a:lumMod val="85000"/>
                </a:srgbClr>
              </a:solidFill>
              <a:prstDash val="solid"/>
            </a:ln>
            <a:effectLst/>
          </p:spPr>
        </p:cxnSp>
        <p:cxnSp>
          <p:nvCxnSpPr>
            <p:cNvPr id="52" name="直接连接符 51"/>
            <p:cNvCxnSpPr/>
            <p:nvPr/>
          </p:nvCxnSpPr>
          <p:spPr>
            <a:xfrm rot="7560000">
              <a:off x="6608551" y="2644839"/>
              <a:ext cx="114351" cy="0"/>
            </a:xfrm>
            <a:prstGeom prst="line">
              <a:avLst/>
            </a:prstGeom>
            <a:noFill/>
            <a:ln w="12700" cap="flat" cmpd="sng" algn="ctr">
              <a:solidFill>
                <a:srgbClr val="FFFFFF">
                  <a:lumMod val="85000"/>
                </a:srgbClr>
              </a:solidFill>
              <a:prstDash val="solid"/>
            </a:ln>
            <a:effectLst/>
          </p:spPr>
        </p:cxnSp>
        <p:cxnSp>
          <p:nvCxnSpPr>
            <p:cNvPr id="53" name="直接连接符 52"/>
            <p:cNvCxnSpPr/>
            <p:nvPr/>
          </p:nvCxnSpPr>
          <p:spPr>
            <a:xfrm rot="7775999">
              <a:off x="6656665" y="2682160"/>
              <a:ext cx="114351" cy="0"/>
            </a:xfrm>
            <a:prstGeom prst="line">
              <a:avLst/>
            </a:prstGeom>
            <a:noFill/>
            <a:ln w="12700" cap="flat" cmpd="sng" algn="ctr">
              <a:solidFill>
                <a:srgbClr val="FFFFFF">
                  <a:lumMod val="85000"/>
                </a:srgbClr>
              </a:solidFill>
              <a:prstDash val="solid"/>
            </a:ln>
            <a:effectLst/>
          </p:spPr>
        </p:cxnSp>
        <p:cxnSp>
          <p:nvCxnSpPr>
            <p:cNvPr id="54" name="直接连接符 53"/>
            <p:cNvCxnSpPr/>
            <p:nvPr/>
          </p:nvCxnSpPr>
          <p:spPr>
            <a:xfrm rot="7992000">
              <a:off x="6702341" y="2722429"/>
              <a:ext cx="114351" cy="0"/>
            </a:xfrm>
            <a:prstGeom prst="line">
              <a:avLst/>
            </a:prstGeom>
            <a:noFill/>
            <a:ln w="12700" cap="flat" cmpd="sng" algn="ctr">
              <a:solidFill>
                <a:srgbClr val="FFFFFF">
                  <a:lumMod val="85000"/>
                </a:srgbClr>
              </a:solidFill>
              <a:prstDash val="solid"/>
            </a:ln>
            <a:effectLst/>
          </p:spPr>
        </p:cxnSp>
        <p:cxnSp>
          <p:nvCxnSpPr>
            <p:cNvPr id="55" name="直接连接符 54"/>
            <p:cNvCxnSpPr/>
            <p:nvPr/>
          </p:nvCxnSpPr>
          <p:spPr>
            <a:xfrm rot="8208000">
              <a:off x="6745397" y="2765485"/>
              <a:ext cx="114351" cy="0"/>
            </a:xfrm>
            <a:prstGeom prst="line">
              <a:avLst/>
            </a:prstGeom>
            <a:noFill/>
            <a:ln w="12700" cap="flat" cmpd="sng" algn="ctr">
              <a:solidFill>
                <a:srgbClr val="FFFFFF">
                  <a:lumMod val="85000"/>
                </a:srgbClr>
              </a:solidFill>
              <a:prstDash val="solid"/>
            </a:ln>
            <a:effectLst/>
          </p:spPr>
        </p:cxnSp>
        <p:cxnSp>
          <p:nvCxnSpPr>
            <p:cNvPr id="56" name="直接连接符 55"/>
            <p:cNvCxnSpPr/>
            <p:nvPr/>
          </p:nvCxnSpPr>
          <p:spPr>
            <a:xfrm rot="8424000">
              <a:off x="6785666" y="2811160"/>
              <a:ext cx="114351" cy="0"/>
            </a:xfrm>
            <a:prstGeom prst="line">
              <a:avLst/>
            </a:prstGeom>
            <a:noFill/>
            <a:ln w="12700" cap="flat" cmpd="sng" algn="ctr">
              <a:solidFill>
                <a:srgbClr val="FFFFFF">
                  <a:lumMod val="85000"/>
                </a:srgbClr>
              </a:solidFill>
              <a:prstDash val="solid"/>
            </a:ln>
            <a:effectLst/>
          </p:spPr>
        </p:cxnSp>
        <p:cxnSp>
          <p:nvCxnSpPr>
            <p:cNvPr id="57" name="直接连接符 56"/>
            <p:cNvCxnSpPr/>
            <p:nvPr/>
          </p:nvCxnSpPr>
          <p:spPr>
            <a:xfrm rot="8640000">
              <a:off x="6822987" y="2859274"/>
              <a:ext cx="114351" cy="0"/>
            </a:xfrm>
            <a:prstGeom prst="line">
              <a:avLst/>
            </a:prstGeom>
            <a:noFill/>
            <a:ln w="12700" cap="flat" cmpd="sng" algn="ctr">
              <a:solidFill>
                <a:srgbClr val="FFFFFF">
                  <a:lumMod val="85000"/>
                </a:srgbClr>
              </a:solidFill>
              <a:prstDash val="solid"/>
            </a:ln>
            <a:effectLst/>
          </p:spPr>
        </p:cxnSp>
        <p:cxnSp>
          <p:nvCxnSpPr>
            <p:cNvPr id="58" name="直接连接符 57"/>
            <p:cNvCxnSpPr/>
            <p:nvPr/>
          </p:nvCxnSpPr>
          <p:spPr>
            <a:xfrm rot="8855999">
              <a:off x="6857212" y="2909636"/>
              <a:ext cx="114351" cy="0"/>
            </a:xfrm>
            <a:prstGeom prst="line">
              <a:avLst/>
            </a:prstGeom>
            <a:noFill/>
            <a:ln w="12700" cap="flat" cmpd="sng" algn="ctr">
              <a:solidFill>
                <a:srgbClr val="FFFFFF">
                  <a:lumMod val="85000"/>
                </a:srgbClr>
              </a:solidFill>
              <a:prstDash val="solid"/>
            </a:ln>
            <a:effectLst/>
          </p:spPr>
        </p:cxnSp>
        <p:cxnSp>
          <p:nvCxnSpPr>
            <p:cNvPr id="59" name="直接连接符 58"/>
            <p:cNvCxnSpPr/>
            <p:nvPr/>
          </p:nvCxnSpPr>
          <p:spPr>
            <a:xfrm rot="9072000">
              <a:off x="6888208" y="2962048"/>
              <a:ext cx="114351" cy="0"/>
            </a:xfrm>
            <a:prstGeom prst="line">
              <a:avLst/>
            </a:prstGeom>
            <a:noFill/>
            <a:ln w="12700" cap="flat" cmpd="sng" algn="ctr">
              <a:solidFill>
                <a:srgbClr val="FFFFFF">
                  <a:lumMod val="85000"/>
                </a:srgbClr>
              </a:solidFill>
              <a:prstDash val="solid"/>
            </a:ln>
            <a:effectLst/>
          </p:spPr>
        </p:cxnSp>
        <p:cxnSp>
          <p:nvCxnSpPr>
            <p:cNvPr id="60" name="直接连接符 59"/>
            <p:cNvCxnSpPr/>
            <p:nvPr/>
          </p:nvCxnSpPr>
          <p:spPr>
            <a:xfrm rot="9288000">
              <a:off x="6915852" y="3016303"/>
              <a:ext cx="114351" cy="0"/>
            </a:xfrm>
            <a:prstGeom prst="line">
              <a:avLst/>
            </a:prstGeom>
            <a:noFill/>
            <a:ln w="12700" cap="flat" cmpd="sng" algn="ctr">
              <a:solidFill>
                <a:srgbClr val="FFFFFF">
                  <a:lumMod val="85000"/>
                </a:srgbClr>
              </a:solidFill>
              <a:prstDash val="solid"/>
            </a:ln>
            <a:effectLst/>
          </p:spPr>
        </p:cxnSp>
        <p:cxnSp>
          <p:nvCxnSpPr>
            <p:cNvPr id="61" name="直接连接符 60"/>
            <p:cNvCxnSpPr/>
            <p:nvPr/>
          </p:nvCxnSpPr>
          <p:spPr>
            <a:xfrm rot="9504000">
              <a:off x="6940035" y="3072186"/>
              <a:ext cx="114351" cy="0"/>
            </a:xfrm>
            <a:prstGeom prst="line">
              <a:avLst/>
            </a:prstGeom>
            <a:noFill/>
            <a:ln w="12700" cap="flat" cmpd="sng" algn="ctr">
              <a:solidFill>
                <a:srgbClr val="FFFFFF">
                  <a:lumMod val="85000"/>
                </a:srgbClr>
              </a:solidFill>
              <a:prstDash val="solid"/>
            </a:ln>
            <a:effectLst/>
          </p:spPr>
        </p:cxnSp>
        <p:cxnSp>
          <p:nvCxnSpPr>
            <p:cNvPr id="62" name="直接连接符 61"/>
            <p:cNvCxnSpPr/>
            <p:nvPr/>
          </p:nvCxnSpPr>
          <p:spPr>
            <a:xfrm rot="9720000">
              <a:off x="6960662" y="3129477"/>
              <a:ext cx="114351" cy="0"/>
            </a:xfrm>
            <a:prstGeom prst="line">
              <a:avLst/>
            </a:prstGeom>
            <a:noFill/>
            <a:ln w="12700" cap="flat" cmpd="sng" algn="ctr">
              <a:solidFill>
                <a:srgbClr val="FFFFFF">
                  <a:lumMod val="85000"/>
                </a:srgbClr>
              </a:solidFill>
              <a:prstDash val="solid"/>
            </a:ln>
            <a:effectLst/>
          </p:spPr>
        </p:cxnSp>
        <p:cxnSp>
          <p:nvCxnSpPr>
            <p:cNvPr id="63" name="直接连接符 62"/>
            <p:cNvCxnSpPr/>
            <p:nvPr/>
          </p:nvCxnSpPr>
          <p:spPr>
            <a:xfrm rot="9935999">
              <a:off x="6977649" y="3187951"/>
              <a:ext cx="114351" cy="0"/>
            </a:xfrm>
            <a:prstGeom prst="line">
              <a:avLst/>
            </a:prstGeom>
            <a:noFill/>
            <a:ln w="12700" cap="flat" cmpd="sng" algn="ctr">
              <a:solidFill>
                <a:srgbClr val="FFFFFF">
                  <a:lumMod val="85000"/>
                </a:srgbClr>
              </a:solidFill>
              <a:prstDash val="solid"/>
            </a:ln>
            <a:effectLst/>
          </p:spPr>
        </p:cxnSp>
        <p:cxnSp>
          <p:nvCxnSpPr>
            <p:cNvPr id="64" name="直接连接符 63"/>
            <p:cNvCxnSpPr/>
            <p:nvPr/>
          </p:nvCxnSpPr>
          <p:spPr>
            <a:xfrm rot="10152000">
              <a:off x="6990933" y="3247376"/>
              <a:ext cx="114351" cy="0"/>
            </a:xfrm>
            <a:prstGeom prst="line">
              <a:avLst/>
            </a:prstGeom>
            <a:noFill/>
            <a:ln w="12700" cap="flat" cmpd="sng" algn="ctr">
              <a:solidFill>
                <a:srgbClr val="FFFFFF">
                  <a:lumMod val="85000"/>
                </a:srgbClr>
              </a:solidFill>
              <a:prstDash val="solid"/>
            </a:ln>
            <a:effectLst/>
          </p:spPr>
        </p:cxnSp>
        <p:cxnSp>
          <p:nvCxnSpPr>
            <p:cNvPr id="65" name="直接连接符 64"/>
            <p:cNvCxnSpPr/>
            <p:nvPr/>
          </p:nvCxnSpPr>
          <p:spPr>
            <a:xfrm rot="10367999">
              <a:off x="7000458" y="3307518"/>
              <a:ext cx="114351" cy="0"/>
            </a:xfrm>
            <a:prstGeom prst="line">
              <a:avLst/>
            </a:prstGeom>
            <a:noFill/>
            <a:ln w="12700" cap="flat" cmpd="sng" algn="ctr">
              <a:solidFill>
                <a:srgbClr val="FFFFFF">
                  <a:lumMod val="85000"/>
                </a:srgbClr>
              </a:solidFill>
              <a:prstDash val="solid"/>
            </a:ln>
            <a:effectLst/>
          </p:spPr>
        </p:cxnSp>
        <p:cxnSp>
          <p:nvCxnSpPr>
            <p:cNvPr id="66" name="直接连接符 65"/>
            <p:cNvCxnSpPr/>
            <p:nvPr/>
          </p:nvCxnSpPr>
          <p:spPr>
            <a:xfrm rot="10584000">
              <a:off x="7006189" y="3368139"/>
              <a:ext cx="114351" cy="0"/>
            </a:xfrm>
            <a:prstGeom prst="line">
              <a:avLst/>
            </a:prstGeom>
            <a:noFill/>
            <a:ln w="12700" cap="flat" cmpd="sng" algn="ctr">
              <a:solidFill>
                <a:srgbClr val="FFFFFF">
                  <a:lumMod val="85000"/>
                </a:srgbClr>
              </a:solidFill>
              <a:prstDash val="solid"/>
            </a:ln>
            <a:effectLst/>
          </p:spPr>
        </p:cxnSp>
        <p:cxnSp>
          <p:nvCxnSpPr>
            <p:cNvPr id="67" name="直接连接符 66"/>
            <p:cNvCxnSpPr/>
            <p:nvPr/>
          </p:nvCxnSpPr>
          <p:spPr>
            <a:xfrm rot="10800000">
              <a:off x="7008102" y="3429001"/>
              <a:ext cx="114351" cy="0"/>
            </a:xfrm>
            <a:prstGeom prst="line">
              <a:avLst/>
            </a:prstGeom>
            <a:noFill/>
            <a:ln w="12700" cap="flat" cmpd="sng" algn="ctr">
              <a:solidFill>
                <a:srgbClr val="FFFFFF">
                  <a:lumMod val="85000"/>
                </a:srgbClr>
              </a:solidFill>
              <a:prstDash val="solid"/>
            </a:ln>
            <a:effectLst/>
          </p:spPr>
        </p:cxnSp>
        <p:cxnSp>
          <p:nvCxnSpPr>
            <p:cNvPr id="68" name="直接连接符 67"/>
            <p:cNvCxnSpPr/>
            <p:nvPr/>
          </p:nvCxnSpPr>
          <p:spPr>
            <a:xfrm rot="11015999">
              <a:off x="7006189" y="3489862"/>
              <a:ext cx="114351" cy="0"/>
            </a:xfrm>
            <a:prstGeom prst="line">
              <a:avLst/>
            </a:prstGeom>
            <a:noFill/>
            <a:ln w="12700" cap="flat" cmpd="sng" algn="ctr">
              <a:solidFill>
                <a:srgbClr val="FFFFFF">
                  <a:lumMod val="85000"/>
                </a:srgbClr>
              </a:solidFill>
              <a:prstDash val="solid"/>
            </a:ln>
            <a:effectLst/>
          </p:spPr>
        </p:cxnSp>
        <p:cxnSp>
          <p:nvCxnSpPr>
            <p:cNvPr id="69" name="直接连接符 68"/>
            <p:cNvCxnSpPr/>
            <p:nvPr/>
          </p:nvCxnSpPr>
          <p:spPr>
            <a:xfrm rot="11232000">
              <a:off x="7000458" y="3550483"/>
              <a:ext cx="114351" cy="0"/>
            </a:xfrm>
            <a:prstGeom prst="line">
              <a:avLst/>
            </a:prstGeom>
            <a:noFill/>
            <a:ln w="12700" cap="flat" cmpd="sng" algn="ctr">
              <a:solidFill>
                <a:srgbClr val="FFFFFF">
                  <a:lumMod val="85000"/>
                </a:srgbClr>
              </a:solidFill>
              <a:prstDash val="solid"/>
            </a:ln>
            <a:effectLst/>
          </p:spPr>
        </p:cxnSp>
        <p:cxnSp>
          <p:nvCxnSpPr>
            <p:cNvPr id="70" name="直接连接符 69"/>
            <p:cNvCxnSpPr/>
            <p:nvPr/>
          </p:nvCxnSpPr>
          <p:spPr>
            <a:xfrm rot="11447999">
              <a:off x="6990933" y="3610625"/>
              <a:ext cx="114351" cy="0"/>
            </a:xfrm>
            <a:prstGeom prst="line">
              <a:avLst/>
            </a:prstGeom>
            <a:noFill/>
            <a:ln w="12700" cap="flat" cmpd="sng" algn="ctr">
              <a:solidFill>
                <a:srgbClr val="FFFFFF">
                  <a:lumMod val="85000"/>
                </a:srgbClr>
              </a:solidFill>
              <a:prstDash val="solid"/>
            </a:ln>
            <a:effectLst/>
          </p:spPr>
        </p:cxnSp>
        <p:cxnSp>
          <p:nvCxnSpPr>
            <p:cNvPr id="71" name="直接连接符 70"/>
            <p:cNvCxnSpPr/>
            <p:nvPr/>
          </p:nvCxnSpPr>
          <p:spPr>
            <a:xfrm rot="11664000">
              <a:off x="6977649" y="3670050"/>
              <a:ext cx="114351" cy="0"/>
            </a:xfrm>
            <a:prstGeom prst="line">
              <a:avLst/>
            </a:prstGeom>
            <a:noFill/>
            <a:ln w="12700" cap="flat" cmpd="sng" algn="ctr">
              <a:solidFill>
                <a:srgbClr val="FFFFFF">
                  <a:lumMod val="85000"/>
                </a:srgbClr>
              </a:solidFill>
              <a:prstDash val="solid"/>
            </a:ln>
            <a:effectLst/>
          </p:spPr>
        </p:cxnSp>
        <p:cxnSp>
          <p:nvCxnSpPr>
            <p:cNvPr id="72" name="直接连接符 71"/>
            <p:cNvCxnSpPr/>
            <p:nvPr/>
          </p:nvCxnSpPr>
          <p:spPr>
            <a:xfrm rot="11880000">
              <a:off x="6960662" y="3728524"/>
              <a:ext cx="114351" cy="0"/>
            </a:xfrm>
            <a:prstGeom prst="line">
              <a:avLst/>
            </a:prstGeom>
            <a:noFill/>
            <a:ln w="12700" cap="flat" cmpd="sng" algn="ctr">
              <a:solidFill>
                <a:srgbClr val="FFFFFF">
                  <a:lumMod val="85000"/>
                </a:srgbClr>
              </a:solidFill>
              <a:prstDash val="solid"/>
            </a:ln>
            <a:effectLst/>
          </p:spPr>
        </p:cxnSp>
        <p:cxnSp>
          <p:nvCxnSpPr>
            <p:cNvPr id="73" name="直接连接符 72"/>
            <p:cNvCxnSpPr/>
            <p:nvPr/>
          </p:nvCxnSpPr>
          <p:spPr>
            <a:xfrm rot="12095999">
              <a:off x="6940035" y="3785815"/>
              <a:ext cx="114351" cy="0"/>
            </a:xfrm>
            <a:prstGeom prst="line">
              <a:avLst/>
            </a:prstGeom>
            <a:noFill/>
            <a:ln w="12700" cap="flat" cmpd="sng" algn="ctr">
              <a:solidFill>
                <a:srgbClr val="FFFFFF">
                  <a:lumMod val="85000"/>
                </a:srgbClr>
              </a:solidFill>
              <a:prstDash val="solid"/>
            </a:ln>
            <a:effectLst/>
          </p:spPr>
        </p:cxnSp>
        <p:cxnSp>
          <p:nvCxnSpPr>
            <p:cNvPr id="74" name="直接连接符 73"/>
            <p:cNvCxnSpPr/>
            <p:nvPr/>
          </p:nvCxnSpPr>
          <p:spPr>
            <a:xfrm rot="12312000">
              <a:off x="6915852" y="3841698"/>
              <a:ext cx="114351" cy="0"/>
            </a:xfrm>
            <a:prstGeom prst="line">
              <a:avLst/>
            </a:prstGeom>
            <a:noFill/>
            <a:ln w="12700" cap="flat" cmpd="sng" algn="ctr">
              <a:solidFill>
                <a:srgbClr val="FFFFFF">
                  <a:lumMod val="85000"/>
                </a:srgbClr>
              </a:solidFill>
              <a:prstDash val="solid"/>
            </a:ln>
            <a:effectLst/>
          </p:spPr>
        </p:cxnSp>
        <p:cxnSp>
          <p:nvCxnSpPr>
            <p:cNvPr id="75" name="直接连接符 74"/>
            <p:cNvCxnSpPr/>
            <p:nvPr/>
          </p:nvCxnSpPr>
          <p:spPr>
            <a:xfrm rot="12527999">
              <a:off x="6888209" y="3895953"/>
              <a:ext cx="114351" cy="0"/>
            </a:xfrm>
            <a:prstGeom prst="line">
              <a:avLst/>
            </a:prstGeom>
            <a:noFill/>
            <a:ln w="12700" cap="flat" cmpd="sng" algn="ctr">
              <a:solidFill>
                <a:srgbClr val="FFFFFF">
                  <a:lumMod val="85000"/>
                </a:srgbClr>
              </a:solidFill>
              <a:prstDash val="solid"/>
            </a:ln>
            <a:effectLst/>
          </p:spPr>
        </p:cxnSp>
        <p:cxnSp>
          <p:nvCxnSpPr>
            <p:cNvPr id="76" name="直接连接符 75"/>
            <p:cNvCxnSpPr/>
            <p:nvPr/>
          </p:nvCxnSpPr>
          <p:spPr>
            <a:xfrm rot="12744000">
              <a:off x="6857213" y="3948365"/>
              <a:ext cx="114351" cy="0"/>
            </a:xfrm>
            <a:prstGeom prst="line">
              <a:avLst/>
            </a:prstGeom>
            <a:noFill/>
            <a:ln w="12700" cap="flat" cmpd="sng" algn="ctr">
              <a:solidFill>
                <a:srgbClr val="FFFFFF">
                  <a:lumMod val="85000"/>
                </a:srgbClr>
              </a:solidFill>
              <a:prstDash val="solid"/>
            </a:ln>
            <a:effectLst/>
          </p:spPr>
        </p:cxnSp>
        <p:cxnSp>
          <p:nvCxnSpPr>
            <p:cNvPr id="77" name="直接连接符 76"/>
            <p:cNvCxnSpPr/>
            <p:nvPr/>
          </p:nvCxnSpPr>
          <p:spPr>
            <a:xfrm rot="12960000">
              <a:off x="6822987" y="3998727"/>
              <a:ext cx="114351" cy="0"/>
            </a:xfrm>
            <a:prstGeom prst="line">
              <a:avLst/>
            </a:prstGeom>
            <a:noFill/>
            <a:ln w="12700" cap="flat" cmpd="sng" algn="ctr">
              <a:solidFill>
                <a:srgbClr val="FFFFFF">
                  <a:lumMod val="85000"/>
                </a:srgbClr>
              </a:solidFill>
              <a:prstDash val="solid"/>
            </a:ln>
            <a:effectLst/>
          </p:spPr>
        </p:cxnSp>
        <p:cxnSp>
          <p:nvCxnSpPr>
            <p:cNvPr id="78" name="直接连接符 77"/>
            <p:cNvCxnSpPr/>
            <p:nvPr/>
          </p:nvCxnSpPr>
          <p:spPr>
            <a:xfrm rot="13175999">
              <a:off x="6785666" y="4046840"/>
              <a:ext cx="114351" cy="0"/>
            </a:xfrm>
            <a:prstGeom prst="line">
              <a:avLst/>
            </a:prstGeom>
            <a:noFill/>
            <a:ln w="12700" cap="flat" cmpd="sng" algn="ctr">
              <a:solidFill>
                <a:srgbClr val="FFFFFF">
                  <a:lumMod val="85000"/>
                </a:srgbClr>
              </a:solidFill>
              <a:prstDash val="solid"/>
            </a:ln>
            <a:effectLst/>
          </p:spPr>
        </p:cxnSp>
        <p:cxnSp>
          <p:nvCxnSpPr>
            <p:cNvPr id="79" name="直接连接符 78"/>
            <p:cNvCxnSpPr/>
            <p:nvPr/>
          </p:nvCxnSpPr>
          <p:spPr>
            <a:xfrm rot="13392000">
              <a:off x="6745397" y="4092516"/>
              <a:ext cx="114351" cy="0"/>
            </a:xfrm>
            <a:prstGeom prst="line">
              <a:avLst/>
            </a:prstGeom>
            <a:noFill/>
            <a:ln w="12700" cap="flat" cmpd="sng" algn="ctr">
              <a:solidFill>
                <a:srgbClr val="FFFFFF">
                  <a:lumMod val="85000"/>
                </a:srgbClr>
              </a:solidFill>
              <a:prstDash val="solid"/>
            </a:ln>
            <a:effectLst/>
          </p:spPr>
        </p:cxnSp>
        <p:cxnSp>
          <p:nvCxnSpPr>
            <p:cNvPr id="80" name="直接连接符 79"/>
            <p:cNvCxnSpPr/>
            <p:nvPr/>
          </p:nvCxnSpPr>
          <p:spPr>
            <a:xfrm rot="13607999">
              <a:off x="6702341" y="4135572"/>
              <a:ext cx="114351" cy="0"/>
            </a:xfrm>
            <a:prstGeom prst="line">
              <a:avLst/>
            </a:prstGeom>
            <a:noFill/>
            <a:ln w="12700" cap="flat" cmpd="sng" algn="ctr">
              <a:solidFill>
                <a:srgbClr val="FFFFFF">
                  <a:lumMod val="85000"/>
                </a:srgbClr>
              </a:solidFill>
              <a:prstDash val="solid"/>
            </a:ln>
            <a:effectLst/>
          </p:spPr>
        </p:cxnSp>
        <p:cxnSp>
          <p:nvCxnSpPr>
            <p:cNvPr id="81" name="直接连接符 80"/>
            <p:cNvCxnSpPr/>
            <p:nvPr/>
          </p:nvCxnSpPr>
          <p:spPr>
            <a:xfrm rot="13824000">
              <a:off x="6656665" y="4175841"/>
              <a:ext cx="114351" cy="0"/>
            </a:xfrm>
            <a:prstGeom prst="line">
              <a:avLst/>
            </a:prstGeom>
            <a:noFill/>
            <a:ln w="12700" cap="flat" cmpd="sng" algn="ctr">
              <a:solidFill>
                <a:srgbClr val="FFFFFF">
                  <a:lumMod val="85000"/>
                </a:srgbClr>
              </a:solidFill>
              <a:prstDash val="solid"/>
            </a:ln>
            <a:effectLst/>
          </p:spPr>
        </p:cxnSp>
        <p:cxnSp>
          <p:nvCxnSpPr>
            <p:cNvPr id="82" name="直接连接符 81"/>
            <p:cNvCxnSpPr/>
            <p:nvPr/>
          </p:nvCxnSpPr>
          <p:spPr>
            <a:xfrm rot="14040000">
              <a:off x="6608551" y="4213162"/>
              <a:ext cx="114351" cy="0"/>
            </a:xfrm>
            <a:prstGeom prst="line">
              <a:avLst/>
            </a:prstGeom>
            <a:noFill/>
            <a:ln w="12700" cap="flat" cmpd="sng" algn="ctr">
              <a:solidFill>
                <a:srgbClr val="FFFFFF">
                  <a:lumMod val="85000"/>
                </a:srgbClr>
              </a:solidFill>
              <a:prstDash val="solid"/>
            </a:ln>
            <a:effectLst/>
          </p:spPr>
        </p:cxnSp>
        <p:cxnSp>
          <p:nvCxnSpPr>
            <p:cNvPr id="83" name="直接连接符 82"/>
            <p:cNvCxnSpPr/>
            <p:nvPr/>
          </p:nvCxnSpPr>
          <p:spPr>
            <a:xfrm rot="14255999">
              <a:off x="6558189" y="4247387"/>
              <a:ext cx="114351" cy="0"/>
            </a:xfrm>
            <a:prstGeom prst="line">
              <a:avLst/>
            </a:prstGeom>
            <a:noFill/>
            <a:ln w="12700" cap="flat" cmpd="sng" algn="ctr">
              <a:solidFill>
                <a:srgbClr val="FFFFFF">
                  <a:lumMod val="85000"/>
                </a:srgbClr>
              </a:solidFill>
              <a:prstDash val="solid"/>
            </a:ln>
            <a:effectLst/>
          </p:spPr>
        </p:cxnSp>
        <p:cxnSp>
          <p:nvCxnSpPr>
            <p:cNvPr id="84" name="直接连接符 83"/>
            <p:cNvCxnSpPr/>
            <p:nvPr/>
          </p:nvCxnSpPr>
          <p:spPr>
            <a:xfrm rot="14472000">
              <a:off x="6505778" y="4278384"/>
              <a:ext cx="114351" cy="0"/>
            </a:xfrm>
            <a:prstGeom prst="line">
              <a:avLst/>
            </a:prstGeom>
            <a:noFill/>
            <a:ln w="12700" cap="flat" cmpd="sng" algn="ctr">
              <a:solidFill>
                <a:srgbClr val="FFFFFF">
                  <a:lumMod val="85000"/>
                </a:srgbClr>
              </a:solidFill>
              <a:prstDash val="solid"/>
            </a:ln>
            <a:effectLst/>
          </p:spPr>
        </p:cxnSp>
        <p:cxnSp>
          <p:nvCxnSpPr>
            <p:cNvPr id="85" name="直接连接符 84"/>
            <p:cNvCxnSpPr/>
            <p:nvPr/>
          </p:nvCxnSpPr>
          <p:spPr>
            <a:xfrm rot="14687999">
              <a:off x="6451523" y="4306028"/>
              <a:ext cx="114351" cy="0"/>
            </a:xfrm>
            <a:prstGeom prst="line">
              <a:avLst/>
            </a:prstGeom>
            <a:noFill/>
            <a:ln w="12700" cap="flat" cmpd="sng" algn="ctr">
              <a:solidFill>
                <a:srgbClr val="FFFFFF">
                  <a:lumMod val="85000"/>
                </a:srgbClr>
              </a:solidFill>
              <a:prstDash val="solid"/>
            </a:ln>
            <a:effectLst/>
          </p:spPr>
        </p:cxnSp>
        <p:cxnSp>
          <p:nvCxnSpPr>
            <p:cNvPr id="86" name="直接连接符 85"/>
            <p:cNvCxnSpPr/>
            <p:nvPr/>
          </p:nvCxnSpPr>
          <p:spPr>
            <a:xfrm rot="14904000">
              <a:off x="6395640" y="4330211"/>
              <a:ext cx="114351" cy="0"/>
            </a:xfrm>
            <a:prstGeom prst="line">
              <a:avLst/>
            </a:prstGeom>
            <a:noFill/>
            <a:ln w="12700" cap="flat" cmpd="sng" algn="ctr">
              <a:solidFill>
                <a:srgbClr val="FFFFFF">
                  <a:lumMod val="85000"/>
                </a:srgbClr>
              </a:solidFill>
              <a:prstDash val="solid"/>
            </a:ln>
            <a:effectLst/>
          </p:spPr>
        </p:cxnSp>
        <p:cxnSp>
          <p:nvCxnSpPr>
            <p:cNvPr id="87" name="直接连接符 86"/>
            <p:cNvCxnSpPr/>
            <p:nvPr/>
          </p:nvCxnSpPr>
          <p:spPr>
            <a:xfrm rot="15120000">
              <a:off x="6338348" y="4350837"/>
              <a:ext cx="114351" cy="0"/>
            </a:xfrm>
            <a:prstGeom prst="line">
              <a:avLst/>
            </a:prstGeom>
            <a:noFill/>
            <a:ln w="12700" cap="flat" cmpd="sng" algn="ctr">
              <a:solidFill>
                <a:srgbClr val="FFFFFF">
                  <a:lumMod val="85000"/>
                </a:srgbClr>
              </a:solidFill>
              <a:prstDash val="solid"/>
            </a:ln>
            <a:effectLst/>
          </p:spPr>
        </p:cxnSp>
        <p:cxnSp>
          <p:nvCxnSpPr>
            <p:cNvPr id="88" name="直接连接符 87"/>
            <p:cNvCxnSpPr/>
            <p:nvPr/>
          </p:nvCxnSpPr>
          <p:spPr>
            <a:xfrm rot="15335999">
              <a:off x="6279874" y="4367825"/>
              <a:ext cx="114351" cy="0"/>
            </a:xfrm>
            <a:prstGeom prst="line">
              <a:avLst/>
            </a:prstGeom>
            <a:noFill/>
            <a:ln w="12700" cap="flat" cmpd="sng" algn="ctr">
              <a:solidFill>
                <a:srgbClr val="FFFFFF">
                  <a:lumMod val="85000"/>
                </a:srgbClr>
              </a:solidFill>
              <a:prstDash val="solid"/>
            </a:ln>
            <a:effectLst/>
          </p:spPr>
        </p:cxnSp>
        <p:cxnSp>
          <p:nvCxnSpPr>
            <p:cNvPr id="89" name="直接连接符 88"/>
            <p:cNvCxnSpPr/>
            <p:nvPr/>
          </p:nvCxnSpPr>
          <p:spPr>
            <a:xfrm rot="15551999">
              <a:off x="6220450" y="4381108"/>
              <a:ext cx="114351" cy="0"/>
            </a:xfrm>
            <a:prstGeom prst="line">
              <a:avLst/>
            </a:prstGeom>
            <a:noFill/>
            <a:ln w="12700" cap="flat" cmpd="sng" algn="ctr">
              <a:solidFill>
                <a:srgbClr val="FFFFFF">
                  <a:lumMod val="85000"/>
                </a:srgbClr>
              </a:solidFill>
              <a:prstDash val="solid"/>
            </a:ln>
            <a:effectLst/>
          </p:spPr>
        </p:cxnSp>
        <p:cxnSp>
          <p:nvCxnSpPr>
            <p:cNvPr id="90" name="直接连接符 89"/>
            <p:cNvCxnSpPr/>
            <p:nvPr/>
          </p:nvCxnSpPr>
          <p:spPr>
            <a:xfrm rot="15767999">
              <a:off x="6160308" y="4390633"/>
              <a:ext cx="114351" cy="0"/>
            </a:xfrm>
            <a:prstGeom prst="line">
              <a:avLst/>
            </a:prstGeom>
            <a:noFill/>
            <a:ln w="12700" cap="flat" cmpd="sng" algn="ctr">
              <a:solidFill>
                <a:srgbClr val="FFFFFF">
                  <a:lumMod val="85000"/>
                </a:srgbClr>
              </a:solidFill>
              <a:prstDash val="solid"/>
            </a:ln>
            <a:effectLst/>
          </p:spPr>
        </p:cxnSp>
        <p:cxnSp>
          <p:nvCxnSpPr>
            <p:cNvPr id="91" name="直接连接符 90"/>
            <p:cNvCxnSpPr/>
            <p:nvPr/>
          </p:nvCxnSpPr>
          <p:spPr>
            <a:xfrm rot="15984000">
              <a:off x="6099687" y="4396364"/>
              <a:ext cx="114351" cy="0"/>
            </a:xfrm>
            <a:prstGeom prst="line">
              <a:avLst/>
            </a:prstGeom>
            <a:noFill/>
            <a:ln w="12700" cap="flat" cmpd="sng" algn="ctr">
              <a:solidFill>
                <a:srgbClr val="FFFFFF">
                  <a:lumMod val="85000"/>
                </a:srgbClr>
              </a:solidFill>
              <a:prstDash val="solid"/>
            </a:ln>
            <a:effectLst/>
          </p:spPr>
        </p:cxnSp>
        <p:cxnSp>
          <p:nvCxnSpPr>
            <p:cNvPr id="92" name="直接连接符 91"/>
            <p:cNvCxnSpPr/>
            <p:nvPr/>
          </p:nvCxnSpPr>
          <p:spPr>
            <a:xfrm rot="16200000">
              <a:off x="6038825" y="4398277"/>
              <a:ext cx="114351" cy="0"/>
            </a:xfrm>
            <a:prstGeom prst="line">
              <a:avLst/>
            </a:prstGeom>
            <a:noFill/>
            <a:ln w="12700" cap="flat" cmpd="sng" algn="ctr">
              <a:solidFill>
                <a:srgbClr val="FFFFFF">
                  <a:lumMod val="85000"/>
                </a:srgbClr>
              </a:solidFill>
              <a:prstDash val="solid"/>
            </a:ln>
            <a:effectLst/>
          </p:spPr>
        </p:cxnSp>
        <p:cxnSp>
          <p:nvCxnSpPr>
            <p:cNvPr id="93" name="直接连接符 92"/>
            <p:cNvCxnSpPr/>
            <p:nvPr/>
          </p:nvCxnSpPr>
          <p:spPr>
            <a:xfrm rot="16416000">
              <a:off x="5977964" y="4396364"/>
              <a:ext cx="114351" cy="0"/>
            </a:xfrm>
            <a:prstGeom prst="line">
              <a:avLst/>
            </a:prstGeom>
            <a:noFill/>
            <a:ln w="12700" cap="flat" cmpd="sng" algn="ctr">
              <a:solidFill>
                <a:srgbClr val="FFFFFF">
                  <a:lumMod val="85000"/>
                </a:srgbClr>
              </a:solidFill>
              <a:prstDash val="solid"/>
            </a:ln>
            <a:effectLst/>
          </p:spPr>
        </p:cxnSp>
        <p:cxnSp>
          <p:nvCxnSpPr>
            <p:cNvPr id="94" name="直接连接符 93"/>
            <p:cNvCxnSpPr/>
            <p:nvPr/>
          </p:nvCxnSpPr>
          <p:spPr>
            <a:xfrm rot="16631999">
              <a:off x="5917343" y="4390634"/>
              <a:ext cx="114351" cy="0"/>
            </a:xfrm>
            <a:prstGeom prst="line">
              <a:avLst/>
            </a:prstGeom>
            <a:noFill/>
            <a:ln w="12700" cap="flat" cmpd="sng" algn="ctr">
              <a:solidFill>
                <a:srgbClr val="FFFFFF">
                  <a:lumMod val="85000"/>
                </a:srgbClr>
              </a:solidFill>
              <a:prstDash val="solid"/>
            </a:ln>
            <a:effectLst/>
          </p:spPr>
        </p:cxnSp>
        <p:cxnSp>
          <p:nvCxnSpPr>
            <p:cNvPr id="95" name="直接连接符 94"/>
            <p:cNvCxnSpPr/>
            <p:nvPr/>
          </p:nvCxnSpPr>
          <p:spPr>
            <a:xfrm rot="16847999">
              <a:off x="5857201" y="4381108"/>
              <a:ext cx="114351" cy="0"/>
            </a:xfrm>
            <a:prstGeom prst="line">
              <a:avLst/>
            </a:prstGeom>
            <a:noFill/>
            <a:ln w="12700" cap="flat" cmpd="sng" algn="ctr">
              <a:solidFill>
                <a:srgbClr val="FFFFFF">
                  <a:lumMod val="85000"/>
                </a:srgbClr>
              </a:solidFill>
              <a:prstDash val="solid"/>
            </a:ln>
            <a:effectLst/>
          </p:spPr>
        </p:cxnSp>
        <p:cxnSp>
          <p:nvCxnSpPr>
            <p:cNvPr id="96" name="直接连接符 95"/>
            <p:cNvCxnSpPr/>
            <p:nvPr/>
          </p:nvCxnSpPr>
          <p:spPr>
            <a:xfrm rot="17064000">
              <a:off x="5797776" y="4367825"/>
              <a:ext cx="114351" cy="0"/>
            </a:xfrm>
            <a:prstGeom prst="line">
              <a:avLst/>
            </a:prstGeom>
            <a:noFill/>
            <a:ln w="12700" cap="flat" cmpd="sng" algn="ctr">
              <a:solidFill>
                <a:srgbClr val="FFFFFF">
                  <a:lumMod val="85000"/>
                </a:srgbClr>
              </a:solidFill>
              <a:prstDash val="solid"/>
            </a:ln>
            <a:effectLst/>
          </p:spPr>
        </p:cxnSp>
        <p:cxnSp>
          <p:nvCxnSpPr>
            <p:cNvPr id="97" name="直接连接符 96"/>
            <p:cNvCxnSpPr/>
            <p:nvPr/>
          </p:nvCxnSpPr>
          <p:spPr>
            <a:xfrm rot="17280000">
              <a:off x="5739302" y="4350837"/>
              <a:ext cx="114351" cy="0"/>
            </a:xfrm>
            <a:prstGeom prst="line">
              <a:avLst/>
            </a:prstGeom>
            <a:noFill/>
            <a:ln w="12700" cap="flat" cmpd="sng" algn="ctr">
              <a:solidFill>
                <a:srgbClr val="FFFFFF">
                  <a:lumMod val="85000"/>
                </a:srgbClr>
              </a:solidFill>
              <a:prstDash val="solid"/>
            </a:ln>
            <a:effectLst/>
          </p:spPr>
        </p:cxnSp>
        <p:cxnSp>
          <p:nvCxnSpPr>
            <p:cNvPr id="98" name="直接连接符 97"/>
            <p:cNvCxnSpPr/>
            <p:nvPr/>
          </p:nvCxnSpPr>
          <p:spPr>
            <a:xfrm rot="17496000">
              <a:off x="5682011" y="4330211"/>
              <a:ext cx="114351" cy="0"/>
            </a:xfrm>
            <a:prstGeom prst="line">
              <a:avLst/>
            </a:prstGeom>
            <a:noFill/>
            <a:ln w="12700" cap="flat" cmpd="sng" algn="ctr">
              <a:solidFill>
                <a:srgbClr val="FFFFFF">
                  <a:lumMod val="85000"/>
                </a:srgbClr>
              </a:solidFill>
              <a:prstDash val="solid"/>
            </a:ln>
            <a:effectLst/>
          </p:spPr>
        </p:cxnSp>
        <p:cxnSp>
          <p:nvCxnSpPr>
            <p:cNvPr id="99" name="直接连接符 98"/>
            <p:cNvCxnSpPr/>
            <p:nvPr/>
          </p:nvCxnSpPr>
          <p:spPr>
            <a:xfrm rot="17711999">
              <a:off x="5626128" y="4306028"/>
              <a:ext cx="114351" cy="0"/>
            </a:xfrm>
            <a:prstGeom prst="line">
              <a:avLst/>
            </a:prstGeom>
            <a:noFill/>
            <a:ln w="12700" cap="flat" cmpd="sng" algn="ctr">
              <a:solidFill>
                <a:srgbClr val="FFFFFF">
                  <a:lumMod val="85000"/>
                </a:srgbClr>
              </a:solidFill>
              <a:prstDash val="solid"/>
            </a:ln>
            <a:effectLst/>
          </p:spPr>
        </p:cxnSp>
        <p:cxnSp>
          <p:nvCxnSpPr>
            <p:cNvPr id="100" name="直接连接符 99"/>
            <p:cNvCxnSpPr/>
            <p:nvPr/>
          </p:nvCxnSpPr>
          <p:spPr>
            <a:xfrm rot="17927999">
              <a:off x="5571873" y="4278384"/>
              <a:ext cx="114351" cy="0"/>
            </a:xfrm>
            <a:prstGeom prst="line">
              <a:avLst/>
            </a:prstGeom>
            <a:noFill/>
            <a:ln w="12700" cap="flat" cmpd="sng" algn="ctr">
              <a:solidFill>
                <a:srgbClr val="FFFFFF">
                  <a:lumMod val="85000"/>
                </a:srgbClr>
              </a:solidFill>
              <a:prstDash val="solid"/>
            </a:ln>
            <a:effectLst/>
          </p:spPr>
        </p:cxnSp>
        <p:cxnSp>
          <p:nvCxnSpPr>
            <p:cNvPr id="101" name="直接连接符 100"/>
            <p:cNvCxnSpPr/>
            <p:nvPr/>
          </p:nvCxnSpPr>
          <p:spPr>
            <a:xfrm rot="18144000">
              <a:off x="5519461" y="4247387"/>
              <a:ext cx="114351" cy="0"/>
            </a:xfrm>
            <a:prstGeom prst="line">
              <a:avLst/>
            </a:prstGeom>
            <a:noFill/>
            <a:ln w="12700" cap="flat" cmpd="sng" algn="ctr">
              <a:solidFill>
                <a:srgbClr val="FFFFFF">
                  <a:lumMod val="85000"/>
                </a:srgbClr>
              </a:solidFill>
              <a:prstDash val="solid"/>
            </a:ln>
            <a:effectLst/>
          </p:spPr>
        </p:cxnSp>
        <p:cxnSp>
          <p:nvCxnSpPr>
            <p:cNvPr id="102" name="直接连接符 101"/>
            <p:cNvCxnSpPr/>
            <p:nvPr/>
          </p:nvCxnSpPr>
          <p:spPr>
            <a:xfrm rot="18360000">
              <a:off x="5469099" y="4213162"/>
              <a:ext cx="114351" cy="0"/>
            </a:xfrm>
            <a:prstGeom prst="line">
              <a:avLst/>
            </a:prstGeom>
            <a:noFill/>
            <a:ln w="12700" cap="flat" cmpd="sng" algn="ctr">
              <a:solidFill>
                <a:srgbClr val="FFFFFF">
                  <a:lumMod val="85000"/>
                </a:srgbClr>
              </a:solidFill>
              <a:prstDash val="solid"/>
            </a:ln>
            <a:effectLst/>
          </p:spPr>
        </p:cxnSp>
        <p:cxnSp>
          <p:nvCxnSpPr>
            <p:cNvPr id="103" name="直接连接符 102"/>
            <p:cNvCxnSpPr/>
            <p:nvPr/>
          </p:nvCxnSpPr>
          <p:spPr>
            <a:xfrm rot="18576000">
              <a:off x="5420985" y="4175841"/>
              <a:ext cx="114351" cy="0"/>
            </a:xfrm>
            <a:prstGeom prst="line">
              <a:avLst/>
            </a:prstGeom>
            <a:noFill/>
            <a:ln w="12700" cap="flat" cmpd="sng" algn="ctr">
              <a:solidFill>
                <a:srgbClr val="FFFFFF">
                  <a:lumMod val="85000"/>
                </a:srgbClr>
              </a:solidFill>
              <a:prstDash val="solid"/>
            </a:ln>
            <a:effectLst/>
          </p:spPr>
        </p:cxnSp>
        <p:cxnSp>
          <p:nvCxnSpPr>
            <p:cNvPr id="104" name="直接连接符 103"/>
            <p:cNvCxnSpPr/>
            <p:nvPr/>
          </p:nvCxnSpPr>
          <p:spPr>
            <a:xfrm rot="18791999">
              <a:off x="5375310" y="4135572"/>
              <a:ext cx="114351" cy="0"/>
            </a:xfrm>
            <a:prstGeom prst="line">
              <a:avLst/>
            </a:prstGeom>
            <a:noFill/>
            <a:ln w="12700" cap="flat" cmpd="sng" algn="ctr">
              <a:solidFill>
                <a:srgbClr val="FFFFFF">
                  <a:lumMod val="85000"/>
                </a:srgbClr>
              </a:solidFill>
              <a:prstDash val="solid"/>
            </a:ln>
            <a:effectLst/>
          </p:spPr>
        </p:cxnSp>
        <p:cxnSp>
          <p:nvCxnSpPr>
            <p:cNvPr id="105" name="直接连接符 104"/>
            <p:cNvCxnSpPr/>
            <p:nvPr/>
          </p:nvCxnSpPr>
          <p:spPr>
            <a:xfrm rot="19007999">
              <a:off x="5332253" y="4092516"/>
              <a:ext cx="114351" cy="0"/>
            </a:xfrm>
            <a:prstGeom prst="line">
              <a:avLst/>
            </a:prstGeom>
            <a:noFill/>
            <a:ln w="12700" cap="flat" cmpd="sng" algn="ctr">
              <a:solidFill>
                <a:srgbClr val="FFFFFF">
                  <a:lumMod val="85000"/>
                </a:srgbClr>
              </a:solidFill>
              <a:prstDash val="solid"/>
            </a:ln>
            <a:effectLst/>
          </p:spPr>
        </p:cxnSp>
        <p:cxnSp>
          <p:nvCxnSpPr>
            <p:cNvPr id="106" name="直接连接符 105"/>
            <p:cNvCxnSpPr/>
            <p:nvPr/>
          </p:nvCxnSpPr>
          <p:spPr>
            <a:xfrm rot="19224000">
              <a:off x="5291985" y="4046840"/>
              <a:ext cx="114351" cy="0"/>
            </a:xfrm>
            <a:prstGeom prst="line">
              <a:avLst/>
            </a:prstGeom>
            <a:noFill/>
            <a:ln w="12700" cap="flat" cmpd="sng" algn="ctr">
              <a:solidFill>
                <a:srgbClr val="FFFFFF">
                  <a:lumMod val="85000"/>
                </a:srgbClr>
              </a:solidFill>
              <a:prstDash val="solid"/>
            </a:ln>
            <a:effectLst/>
          </p:spPr>
        </p:cxnSp>
        <p:cxnSp>
          <p:nvCxnSpPr>
            <p:cNvPr id="107" name="直接连接符 106"/>
            <p:cNvCxnSpPr/>
            <p:nvPr/>
          </p:nvCxnSpPr>
          <p:spPr>
            <a:xfrm rot="19440000">
              <a:off x="5254664" y="3998727"/>
              <a:ext cx="114351" cy="0"/>
            </a:xfrm>
            <a:prstGeom prst="line">
              <a:avLst/>
            </a:prstGeom>
            <a:noFill/>
            <a:ln w="12700" cap="flat" cmpd="sng" algn="ctr">
              <a:solidFill>
                <a:srgbClr val="FFFFFF">
                  <a:lumMod val="85000"/>
                </a:srgbClr>
              </a:solidFill>
              <a:prstDash val="solid"/>
            </a:ln>
            <a:effectLst/>
          </p:spPr>
        </p:cxnSp>
        <p:cxnSp>
          <p:nvCxnSpPr>
            <p:cNvPr id="108" name="直接连接符 107"/>
            <p:cNvCxnSpPr/>
            <p:nvPr/>
          </p:nvCxnSpPr>
          <p:spPr>
            <a:xfrm rot="19656000">
              <a:off x="5220438" y="3948365"/>
              <a:ext cx="114351" cy="0"/>
            </a:xfrm>
            <a:prstGeom prst="line">
              <a:avLst/>
            </a:prstGeom>
            <a:noFill/>
            <a:ln w="12700" cap="flat" cmpd="sng" algn="ctr">
              <a:solidFill>
                <a:srgbClr val="FFFFFF">
                  <a:lumMod val="85000"/>
                </a:srgbClr>
              </a:solidFill>
              <a:prstDash val="solid"/>
            </a:ln>
            <a:effectLst/>
          </p:spPr>
        </p:cxnSp>
        <p:cxnSp>
          <p:nvCxnSpPr>
            <p:cNvPr id="109" name="直接连接符 108"/>
            <p:cNvCxnSpPr/>
            <p:nvPr/>
          </p:nvCxnSpPr>
          <p:spPr>
            <a:xfrm rot="19871999">
              <a:off x="5189442" y="3895954"/>
              <a:ext cx="114351" cy="0"/>
            </a:xfrm>
            <a:prstGeom prst="line">
              <a:avLst/>
            </a:prstGeom>
            <a:noFill/>
            <a:ln w="12700" cap="flat" cmpd="sng" algn="ctr">
              <a:solidFill>
                <a:srgbClr val="FFFFFF">
                  <a:lumMod val="85000"/>
                </a:srgbClr>
              </a:solidFill>
              <a:prstDash val="solid"/>
            </a:ln>
            <a:effectLst/>
          </p:spPr>
        </p:cxnSp>
        <p:cxnSp>
          <p:nvCxnSpPr>
            <p:cNvPr id="110" name="直接连接符 109"/>
            <p:cNvCxnSpPr/>
            <p:nvPr/>
          </p:nvCxnSpPr>
          <p:spPr>
            <a:xfrm rot="20087999">
              <a:off x="5161798" y="3841698"/>
              <a:ext cx="114351" cy="0"/>
            </a:xfrm>
            <a:prstGeom prst="line">
              <a:avLst/>
            </a:prstGeom>
            <a:noFill/>
            <a:ln w="12700" cap="flat" cmpd="sng" algn="ctr">
              <a:solidFill>
                <a:srgbClr val="FFFFFF">
                  <a:lumMod val="85000"/>
                </a:srgbClr>
              </a:solidFill>
              <a:prstDash val="solid"/>
            </a:ln>
            <a:effectLst/>
          </p:spPr>
        </p:cxnSp>
        <p:cxnSp>
          <p:nvCxnSpPr>
            <p:cNvPr id="111" name="直接连接符 110"/>
            <p:cNvCxnSpPr/>
            <p:nvPr/>
          </p:nvCxnSpPr>
          <p:spPr>
            <a:xfrm rot="20304000">
              <a:off x="5137615" y="3785815"/>
              <a:ext cx="114351" cy="0"/>
            </a:xfrm>
            <a:prstGeom prst="line">
              <a:avLst/>
            </a:prstGeom>
            <a:noFill/>
            <a:ln w="12700" cap="flat" cmpd="sng" algn="ctr">
              <a:solidFill>
                <a:srgbClr val="FFFFFF">
                  <a:lumMod val="85000"/>
                </a:srgbClr>
              </a:solidFill>
              <a:prstDash val="solid"/>
            </a:ln>
            <a:effectLst/>
          </p:spPr>
        </p:cxnSp>
        <p:cxnSp>
          <p:nvCxnSpPr>
            <p:cNvPr id="112" name="直接连接符 111"/>
            <p:cNvCxnSpPr/>
            <p:nvPr/>
          </p:nvCxnSpPr>
          <p:spPr>
            <a:xfrm rot="20520000">
              <a:off x="5116989" y="3728524"/>
              <a:ext cx="114351" cy="0"/>
            </a:xfrm>
            <a:prstGeom prst="line">
              <a:avLst/>
            </a:prstGeom>
            <a:noFill/>
            <a:ln w="12700" cap="flat" cmpd="sng" algn="ctr">
              <a:solidFill>
                <a:srgbClr val="FFFFFF">
                  <a:lumMod val="85000"/>
                </a:srgbClr>
              </a:solidFill>
              <a:prstDash val="solid"/>
            </a:ln>
            <a:effectLst/>
          </p:spPr>
        </p:cxnSp>
        <p:cxnSp>
          <p:nvCxnSpPr>
            <p:cNvPr id="113" name="直接连接符 112"/>
            <p:cNvCxnSpPr/>
            <p:nvPr/>
          </p:nvCxnSpPr>
          <p:spPr>
            <a:xfrm rot="20735999">
              <a:off x="5100001" y="3670050"/>
              <a:ext cx="114351" cy="0"/>
            </a:xfrm>
            <a:prstGeom prst="line">
              <a:avLst/>
            </a:prstGeom>
            <a:noFill/>
            <a:ln w="12700" cap="flat" cmpd="sng" algn="ctr">
              <a:solidFill>
                <a:srgbClr val="FFFFFF">
                  <a:lumMod val="85000"/>
                </a:srgbClr>
              </a:solidFill>
              <a:prstDash val="solid"/>
            </a:ln>
            <a:effectLst/>
          </p:spPr>
        </p:cxnSp>
        <p:cxnSp>
          <p:nvCxnSpPr>
            <p:cNvPr id="114" name="直接连接符 113"/>
            <p:cNvCxnSpPr/>
            <p:nvPr/>
          </p:nvCxnSpPr>
          <p:spPr>
            <a:xfrm rot="20951999">
              <a:off x="5086717" y="3610625"/>
              <a:ext cx="114351" cy="0"/>
            </a:xfrm>
            <a:prstGeom prst="line">
              <a:avLst/>
            </a:prstGeom>
            <a:noFill/>
            <a:ln w="12700" cap="flat" cmpd="sng" algn="ctr">
              <a:solidFill>
                <a:srgbClr val="FFFFFF">
                  <a:lumMod val="85000"/>
                </a:srgbClr>
              </a:solidFill>
              <a:prstDash val="solid"/>
            </a:ln>
            <a:effectLst/>
          </p:spPr>
        </p:cxnSp>
        <p:cxnSp>
          <p:nvCxnSpPr>
            <p:cNvPr id="115" name="直接连接符 114"/>
            <p:cNvCxnSpPr/>
            <p:nvPr/>
          </p:nvCxnSpPr>
          <p:spPr>
            <a:xfrm rot="21167999">
              <a:off x="5077192" y="3550483"/>
              <a:ext cx="114351" cy="0"/>
            </a:xfrm>
            <a:prstGeom prst="line">
              <a:avLst/>
            </a:prstGeom>
            <a:noFill/>
            <a:ln w="12700" cap="flat" cmpd="sng" algn="ctr">
              <a:solidFill>
                <a:srgbClr val="FFFFFF">
                  <a:lumMod val="85000"/>
                </a:srgbClr>
              </a:solidFill>
              <a:prstDash val="solid"/>
            </a:ln>
            <a:effectLst/>
          </p:spPr>
        </p:cxnSp>
        <p:cxnSp>
          <p:nvCxnSpPr>
            <p:cNvPr id="116" name="直接连接符 115"/>
            <p:cNvCxnSpPr/>
            <p:nvPr/>
          </p:nvCxnSpPr>
          <p:spPr>
            <a:xfrm rot="21384000">
              <a:off x="5071462" y="3489862"/>
              <a:ext cx="114351" cy="0"/>
            </a:xfrm>
            <a:prstGeom prst="line">
              <a:avLst/>
            </a:prstGeom>
            <a:noFill/>
            <a:ln w="12700" cap="flat" cmpd="sng" algn="ctr">
              <a:solidFill>
                <a:srgbClr val="FFFFFF">
                  <a:lumMod val="85000"/>
                </a:srgbClr>
              </a:solidFill>
              <a:prstDash val="solid"/>
            </a:ln>
            <a:effectLst/>
          </p:spPr>
        </p:cxnSp>
      </p:grpSp>
      <p:sp>
        <p:nvSpPr>
          <p:cNvPr id="117" name="文本框 116"/>
          <p:cNvSpPr txBox="1"/>
          <p:nvPr/>
        </p:nvSpPr>
        <p:spPr>
          <a:xfrm>
            <a:off x="8016497" y="4018138"/>
            <a:ext cx="1394454" cy="369332"/>
          </a:xfrm>
          <a:prstGeom prst="rect">
            <a:avLst/>
          </a:prstGeom>
          <a:noFill/>
        </p:spPr>
        <p:txBody>
          <a:bodyPr wrap="square" rtlCol="0">
            <a:spAutoFit/>
          </a:bodyPr>
          <a:lstStyle/>
          <a:p>
            <a:pPr algn="ctr" defTabSz="914400"/>
            <a:r>
              <a:rPr lang="en-US" altLang="zh-CN" b="1" dirty="0">
                <a:latin typeface="+mn-ea"/>
              </a:rPr>
              <a:t>III</a:t>
            </a:r>
            <a:r>
              <a:rPr lang="zh-CN" altLang="en-US" b="1" dirty="0">
                <a:latin typeface="+mn-ea"/>
              </a:rPr>
              <a:t>期</a:t>
            </a:r>
            <a:endParaRPr lang="zh-CN" altLang="en-US" b="1" dirty="0">
              <a:latin typeface="+mn-ea"/>
            </a:endParaRPr>
          </a:p>
        </p:txBody>
      </p:sp>
      <p:sp>
        <p:nvSpPr>
          <p:cNvPr id="118" name="文本框 117"/>
          <p:cNvSpPr txBox="1"/>
          <p:nvPr/>
        </p:nvSpPr>
        <p:spPr>
          <a:xfrm>
            <a:off x="7871233" y="3290662"/>
            <a:ext cx="1887602" cy="400110"/>
          </a:xfrm>
          <a:prstGeom prst="rect">
            <a:avLst/>
          </a:prstGeom>
          <a:noFill/>
        </p:spPr>
        <p:txBody>
          <a:bodyPr wrap="square" rtlCol="0">
            <a:spAutoFit/>
          </a:bodyPr>
          <a:lstStyle/>
          <a:p>
            <a:pPr algn="ctr" defTabSz="914400"/>
            <a:r>
              <a:rPr lang="en-US" altLang="zh-CN" sz="2000" b="1">
                <a:latin typeface="+mn-ea"/>
              </a:rPr>
              <a:t>30-40</a:t>
            </a:r>
            <a:r>
              <a:rPr lang="en-US" altLang="zh-CN" sz="1600" b="1">
                <a:latin typeface="+mn-ea"/>
              </a:rPr>
              <a:t>%</a:t>
            </a:r>
            <a:endParaRPr lang="zh-CN" altLang="en-US" sz="1600" b="1">
              <a:latin typeface="+mn-ea"/>
            </a:endParaRPr>
          </a:p>
        </p:txBody>
      </p:sp>
      <p:sp>
        <p:nvSpPr>
          <p:cNvPr id="160" name="椭圆 159"/>
          <p:cNvSpPr/>
          <p:nvPr/>
        </p:nvSpPr>
        <p:spPr>
          <a:xfrm>
            <a:off x="9767615" y="4474590"/>
            <a:ext cx="324056" cy="328867"/>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61" name="椭圆 160"/>
          <p:cNvSpPr/>
          <p:nvPr/>
        </p:nvSpPr>
        <p:spPr>
          <a:xfrm>
            <a:off x="9859243" y="4563936"/>
            <a:ext cx="140798" cy="142889"/>
          </a:xfrm>
          <a:prstGeom prst="ellipse">
            <a:avLst/>
          </a:prstGeom>
          <a:solidFill>
            <a:srgbClr val="FFFFFF">
              <a:lumMod val="50000"/>
            </a:srgbClr>
          </a:solidFill>
          <a:ln w="25400" cap="flat" cmpd="sng" algn="ctr">
            <a:noFill/>
            <a:prstDash val="solid"/>
          </a:ln>
          <a:effectLst>
            <a:outerShdw blurRad="38100" dist="12700" dir="2700000" algn="tl"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868845" y="315881"/>
            <a:ext cx="10776890" cy="523220"/>
          </a:xfrm>
        </p:spPr>
        <p:txBody>
          <a:bodyPr>
            <a:normAutofit fontScale="90000"/>
          </a:bodyPr>
          <a:lstStyle/>
          <a:p>
            <a:pPr algn="l"/>
            <a:r>
              <a:rPr lang="en-US" altLang="zh-CN" sz="3200" b="1" dirty="0">
                <a:latin typeface="+mn-ea"/>
              </a:rPr>
              <a:t>III</a:t>
            </a:r>
            <a:r>
              <a:rPr lang="zh-CN" altLang="en-US" sz="3200" b="1" dirty="0">
                <a:latin typeface="+mn-ea"/>
              </a:rPr>
              <a:t>期</a:t>
            </a:r>
            <a:r>
              <a:rPr lang="en-US" altLang="zh-CN" sz="3200" b="1" dirty="0">
                <a:latin typeface="+mn-ea"/>
              </a:rPr>
              <a:t>NSCLC</a:t>
            </a:r>
            <a:r>
              <a:rPr lang="zh-CN" altLang="en-US" sz="3200" b="1" dirty="0">
                <a:latin typeface="+mn-ea"/>
              </a:rPr>
              <a:t>患者的</a:t>
            </a:r>
            <a:r>
              <a:rPr lang="en-US" altLang="zh-CN" sz="3200" b="1" dirty="0">
                <a:latin typeface="+mn-ea"/>
              </a:rPr>
              <a:t>5</a:t>
            </a:r>
            <a:r>
              <a:rPr lang="zh-CN" altLang="en-US" sz="3200" b="1" dirty="0">
                <a:latin typeface="+mn-ea"/>
              </a:rPr>
              <a:t>年生存差异大</a:t>
            </a:r>
            <a:endParaRPr lang="zh-CN" altLang="en-US" sz="3200" b="1" dirty="0">
              <a:latin typeface="+mn-ea"/>
            </a:endParaRPr>
          </a:p>
        </p:txBody>
      </p:sp>
      <p:graphicFrame>
        <p:nvGraphicFramePr>
          <p:cNvPr id="6" name="图表 5"/>
          <p:cNvGraphicFramePr/>
          <p:nvPr/>
        </p:nvGraphicFramePr>
        <p:xfrm>
          <a:off x="561465" y="2378796"/>
          <a:ext cx="4427456" cy="2856246"/>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7" name="Chart 3_1"/>
          <p:cNvGraphicFramePr/>
          <p:nvPr/>
        </p:nvGraphicFramePr>
        <p:xfrm>
          <a:off x="4163004" y="2378796"/>
          <a:ext cx="4427456" cy="28562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3_1_1"/>
          <p:cNvGraphicFramePr/>
          <p:nvPr/>
        </p:nvGraphicFramePr>
        <p:xfrm>
          <a:off x="7764544" y="2378796"/>
          <a:ext cx="4427456" cy="2856246"/>
        </p:xfrm>
        <a:graphic>
          <a:graphicData uri="http://schemas.openxmlformats.org/drawingml/2006/chart">
            <c:chart xmlns:c="http://schemas.openxmlformats.org/drawingml/2006/chart" xmlns:r="http://schemas.openxmlformats.org/officeDocument/2006/relationships" r:id="rId3"/>
          </a:graphicData>
        </a:graphic>
      </p:graphicFrame>
      <p:sp>
        <p:nvSpPr>
          <p:cNvPr id="16" name="文本框 15"/>
          <p:cNvSpPr txBox="1"/>
          <p:nvPr/>
        </p:nvSpPr>
        <p:spPr>
          <a:xfrm>
            <a:off x="1987458" y="3513440"/>
            <a:ext cx="1617063" cy="586957"/>
          </a:xfrm>
          <a:prstGeom prst="rect">
            <a:avLst/>
          </a:prstGeom>
          <a:noFill/>
        </p:spPr>
        <p:txBody>
          <a:bodyPr wrap="square" lIns="90000" tIns="46800" rIns="90000" bIns="46800" anchor="ctr" anchorCtr="0">
            <a:spAutoFit/>
          </a:bodyPr>
          <a:lstStyle/>
          <a:p>
            <a:pPr algn="ctr"/>
            <a:r>
              <a:rPr lang="en-US" altLang="zh-CN" sz="3200" b="1">
                <a:solidFill>
                  <a:srgbClr val="08A2BE"/>
                </a:solidFill>
                <a:latin typeface="+mn-ea"/>
              </a:rPr>
              <a:t>36%</a:t>
            </a:r>
            <a:endParaRPr lang="en-US" altLang="zh-CN" sz="3200" b="1">
              <a:solidFill>
                <a:srgbClr val="08A2BE"/>
              </a:solidFill>
              <a:latin typeface="+mn-ea"/>
            </a:endParaRPr>
          </a:p>
        </p:txBody>
      </p:sp>
      <p:sp>
        <p:nvSpPr>
          <p:cNvPr id="14" name="文本框 13"/>
          <p:cNvSpPr txBox="1"/>
          <p:nvPr/>
        </p:nvSpPr>
        <p:spPr>
          <a:xfrm>
            <a:off x="5654051" y="3633002"/>
            <a:ext cx="1603239" cy="586957"/>
          </a:xfrm>
          <a:prstGeom prst="rect">
            <a:avLst/>
          </a:prstGeom>
          <a:noFill/>
        </p:spPr>
        <p:txBody>
          <a:bodyPr wrap="square" lIns="90000" tIns="46800" rIns="90000" bIns="46800" anchor="ctr" anchorCtr="0">
            <a:spAutoFit/>
          </a:bodyPr>
          <a:lstStyle>
            <a:defPPr>
              <a:defRPr lang="zh-CN"/>
            </a:defPPr>
            <a:lvl1pPr algn="ctr">
              <a:defRPr sz="3200" b="1">
                <a:solidFill>
                  <a:schemeClr val="accent5"/>
                </a:solidFill>
              </a:defRPr>
            </a:lvl1pPr>
          </a:lstStyle>
          <a:p>
            <a:r>
              <a:rPr lang="en-US" altLang="zh-CN">
                <a:solidFill>
                  <a:srgbClr val="08A2BE"/>
                </a:solidFill>
                <a:latin typeface="+mn-ea"/>
              </a:rPr>
              <a:t>26%</a:t>
            </a:r>
            <a:endParaRPr lang="en-US" altLang="zh-CN">
              <a:solidFill>
                <a:srgbClr val="08A2BE"/>
              </a:solidFill>
              <a:latin typeface="+mn-ea"/>
            </a:endParaRPr>
          </a:p>
        </p:txBody>
      </p:sp>
      <p:sp>
        <p:nvSpPr>
          <p:cNvPr id="12" name="文本框 11"/>
          <p:cNvSpPr txBox="1"/>
          <p:nvPr/>
        </p:nvSpPr>
        <p:spPr>
          <a:xfrm>
            <a:off x="9255590" y="3496467"/>
            <a:ext cx="1734347" cy="586957"/>
          </a:xfrm>
          <a:prstGeom prst="rect">
            <a:avLst/>
          </a:prstGeom>
          <a:noFill/>
        </p:spPr>
        <p:txBody>
          <a:bodyPr wrap="square" lIns="90000" tIns="46800" rIns="90000" bIns="46800" anchor="ctr" anchorCtr="0">
            <a:spAutoFit/>
          </a:bodyPr>
          <a:lstStyle>
            <a:defPPr>
              <a:defRPr lang="zh-CN"/>
            </a:defPPr>
            <a:lvl1pPr algn="ctr">
              <a:defRPr sz="3200" b="1">
                <a:solidFill>
                  <a:schemeClr val="accent5"/>
                </a:solidFill>
              </a:defRPr>
            </a:lvl1pPr>
          </a:lstStyle>
          <a:p>
            <a:r>
              <a:rPr lang="en-US" altLang="zh-CN">
                <a:solidFill>
                  <a:srgbClr val="08A2BE"/>
                </a:solidFill>
                <a:latin typeface="+mn-ea"/>
              </a:rPr>
              <a:t>13%</a:t>
            </a:r>
            <a:endParaRPr lang="en-US" altLang="zh-CN">
              <a:solidFill>
                <a:srgbClr val="08A2BE"/>
              </a:solidFill>
              <a:latin typeface="+mn-ea"/>
            </a:endParaRPr>
          </a:p>
        </p:txBody>
      </p:sp>
      <p:sp>
        <p:nvSpPr>
          <p:cNvPr id="33" name="文本框 32"/>
          <p:cNvSpPr txBox="1"/>
          <p:nvPr/>
        </p:nvSpPr>
        <p:spPr>
          <a:xfrm>
            <a:off x="1962255" y="5759173"/>
            <a:ext cx="8267489" cy="307777"/>
          </a:xfrm>
          <a:prstGeom prst="rect">
            <a:avLst/>
          </a:prstGeom>
          <a:noFill/>
        </p:spPr>
        <p:txBody>
          <a:bodyPr wrap="square">
            <a:spAutoFit/>
          </a:bodyPr>
          <a:lstStyle/>
          <a:p>
            <a:r>
              <a:rPr lang="zh-CN" altLang="en-US" sz="1400" b="0" i="0" dirty="0">
                <a:solidFill>
                  <a:srgbClr val="000000"/>
                </a:solidFill>
                <a:effectLst/>
                <a:latin typeface="+mn-ea"/>
              </a:rPr>
              <a:t>国际肺癌研究协会 </a:t>
            </a:r>
            <a:r>
              <a:rPr lang="en-US" altLang="zh-CN" sz="1400" b="0" i="0" dirty="0">
                <a:solidFill>
                  <a:srgbClr val="000000"/>
                </a:solidFill>
                <a:effectLst/>
                <a:latin typeface="+mn-ea"/>
              </a:rPr>
              <a:t>(IASLC) </a:t>
            </a:r>
            <a:r>
              <a:rPr lang="zh-CN" altLang="en-US" sz="1400" b="0" i="0" dirty="0">
                <a:solidFill>
                  <a:srgbClr val="000000"/>
                </a:solidFill>
                <a:effectLst/>
                <a:latin typeface="+mn-ea"/>
              </a:rPr>
              <a:t>全球数据库中 </a:t>
            </a:r>
            <a:r>
              <a:rPr lang="en-US" altLang="zh-CN" sz="1400" b="0" i="0" dirty="0">
                <a:solidFill>
                  <a:srgbClr val="000000"/>
                </a:solidFill>
                <a:effectLst/>
                <a:latin typeface="+mn-ea"/>
              </a:rPr>
              <a:t>1999 </a:t>
            </a:r>
            <a:r>
              <a:rPr lang="zh-CN" altLang="en-US" sz="1400" b="0" i="0" dirty="0">
                <a:solidFill>
                  <a:srgbClr val="000000"/>
                </a:solidFill>
                <a:effectLst/>
                <a:latin typeface="+mn-ea"/>
              </a:rPr>
              <a:t>年至 </a:t>
            </a:r>
            <a:r>
              <a:rPr lang="en-US" altLang="zh-CN" sz="1400" b="0" i="0" dirty="0">
                <a:solidFill>
                  <a:srgbClr val="000000"/>
                </a:solidFill>
                <a:effectLst/>
                <a:latin typeface="+mn-ea"/>
              </a:rPr>
              <a:t>2010 </a:t>
            </a:r>
            <a:r>
              <a:rPr lang="zh-CN" altLang="en-US" sz="1400" b="0" i="0" dirty="0">
                <a:solidFill>
                  <a:srgbClr val="000000"/>
                </a:solidFill>
                <a:effectLst/>
                <a:latin typeface="+mn-ea"/>
              </a:rPr>
              <a:t>年间接受诊断的患者的平均总体生存率</a:t>
            </a:r>
            <a:endParaRPr lang="zh-CN" altLang="en-US" sz="1400" dirty="0">
              <a:latin typeface="+mn-ea"/>
            </a:endParaRPr>
          </a:p>
        </p:txBody>
      </p:sp>
      <p:sp>
        <p:nvSpPr>
          <p:cNvPr id="35" name="文本框 34"/>
          <p:cNvSpPr txBox="1"/>
          <p:nvPr/>
        </p:nvSpPr>
        <p:spPr>
          <a:xfrm>
            <a:off x="375951" y="6426790"/>
            <a:ext cx="86868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050" b="0" i="0" dirty="0">
                <a:solidFill>
                  <a:srgbClr val="212121"/>
                </a:solidFill>
                <a:effectLst/>
                <a:latin typeface="+mn-ea"/>
              </a:rPr>
              <a:t>Huber RM, et al. </a:t>
            </a:r>
            <a:r>
              <a:rPr lang="en-US" altLang="zh-CN" sz="1050" b="0" i="0" dirty="0" err="1">
                <a:solidFill>
                  <a:srgbClr val="212121"/>
                </a:solidFill>
                <a:effectLst/>
                <a:latin typeface="+mn-ea"/>
              </a:rPr>
              <a:t>Eur</a:t>
            </a:r>
            <a:r>
              <a:rPr lang="en-US" altLang="zh-CN" sz="1050" b="0" i="0" dirty="0">
                <a:solidFill>
                  <a:srgbClr val="212121"/>
                </a:solidFill>
                <a:effectLst/>
                <a:latin typeface="+mn-ea"/>
              </a:rPr>
              <a:t> Respir Rev. 2019 Jul 8;28(152):190024.  PMID: 31285288.</a:t>
            </a:r>
            <a:endParaRPr lang="zh-CN" altLang="en-US" sz="1050" dirty="0">
              <a:latin typeface="+mn-ea"/>
            </a:endParaRPr>
          </a:p>
        </p:txBody>
      </p:sp>
      <p:sp>
        <p:nvSpPr>
          <p:cNvPr id="36" name="文本框 35"/>
          <p:cNvSpPr txBox="1"/>
          <p:nvPr/>
        </p:nvSpPr>
        <p:spPr>
          <a:xfrm>
            <a:off x="561465" y="1530460"/>
            <a:ext cx="11273587" cy="400110"/>
          </a:xfrm>
          <a:prstGeom prst="rect">
            <a:avLst/>
          </a:prstGeom>
          <a:noFill/>
        </p:spPr>
        <p:txBody>
          <a:bodyPr wrap="square">
            <a:spAutoFit/>
          </a:bodyPr>
          <a:lstStyle/>
          <a:p>
            <a:pPr algn="ctr"/>
            <a:r>
              <a:rPr lang="en-US" altLang="zh-CN" sz="2000" b="1" i="0" dirty="0">
                <a:solidFill>
                  <a:srgbClr val="000000"/>
                </a:solidFill>
                <a:effectLst/>
                <a:latin typeface="+mn-ea"/>
              </a:rPr>
              <a:t>III </a:t>
            </a:r>
            <a:r>
              <a:rPr lang="zh-CN" altLang="en-US" sz="2000" b="1" i="0" dirty="0">
                <a:solidFill>
                  <a:srgbClr val="000000"/>
                </a:solidFill>
                <a:effectLst/>
                <a:latin typeface="+mn-ea"/>
              </a:rPr>
              <a:t>期</a:t>
            </a:r>
            <a:r>
              <a:rPr lang="en-US" altLang="zh-CN" sz="2000" b="1" i="0" dirty="0">
                <a:solidFill>
                  <a:srgbClr val="000000"/>
                </a:solidFill>
                <a:effectLst/>
                <a:latin typeface="+mn-ea"/>
              </a:rPr>
              <a:t>NSCLC</a:t>
            </a:r>
            <a:r>
              <a:rPr lang="zh-CN" altLang="en-US" sz="2000" b="1" i="0" dirty="0">
                <a:solidFill>
                  <a:srgbClr val="000000"/>
                </a:solidFill>
                <a:effectLst/>
                <a:latin typeface="+mn-ea"/>
              </a:rPr>
              <a:t>患者不同临床分期的</a:t>
            </a:r>
            <a:r>
              <a:rPr lang="en-US" altLang="zh-CN" sz="2000" b="1" i="0" dirty="0">
                <a:solidFill>
                  <a:srgbClr val="000000"/>
                </a:solidFill>
                <a:effectLst/>
                <a:latin typeface="+mn-ea"/>
              </a:rPr>
              <a:t>5</a:t>
            </a:r>
            <a:r>
              <a:rPr lang="zh-CN" altLang="en-US" sz="2000" b="1" i="0" dirty="0">
                <a:solidFill>
                  <a:srgbClr val="000000"/>
                </a:solidFill>
                <a:effectLst/>
                <a:latin typeface="+mn-ea"/>
              </a:rPr>
              <a:t>年生存率：</a:t>
            </a:r>
            <a:r>
              <a:rPr lang="en-US" altLang="zh-CN" sz="2000" b="1" i="0" dirty="0">
                <a:solidFill>
                  <a:srgbClr val="000000"/>
                </a:solidFill>
                <a:effectLst/>
                <a:latin typeface="+mn-ea"/>
              </a:rPr>
              <a:t>IIIA </a:t>
            </a:r>
            <a:r>
              <a:rPr lang="zh-CN" altLang="en-US" sz="2000" b="1" i="0" dirty="0">
                <a:solidFill>
                  <a:srgbClr val="000000"/>
                </a:solidFill>
                <a:effectLst/>
                <a:latin typeface="+mn-ea"/>
              </a:rPr>
              <a:t>期 </a:t>
            </a:r>
            <a:r>
              <a:rPr lang="en-US" altLang="zh-CN" sz="2000" b="1" i="0" dirty="0">
                <a:solidFill>
                  <a:srgbClr val="000000"/>
                </a:solidFill>
                <a:effectLst/>
                <a:latin typeface="+mn-ea"/>
              </a:rPr>
              <a:t>36%</a:t>
            </a:r>
            <a:r>
              <a:rPr lang="zh-CN" altLang="en-US" sz="2000" b="1" i="0" dirty="0">
                <a:solidFill>
                  <a:srgbClr val="000000"/>
                </a:solidFill>
                <a:effectLst/>
                <a:latin typeface="+mn-ea"/>
              </a:rPr>
              <a:t>、</a:t>
            </a:r>
            <a:r>
              <a:rPr lang="en-US" altLang="zh-CN" sz="2000" b="1" i="0" dirty="0">
                <a:solidFill>
                  <a:srgbClr val="000000"/>
                </a:solidFill>
                <a:effectLst/>
                <a:latin typeface="+mn-ea"/>
              </a:rPr>
              <a:t>IIIB </a:t>
            </a:r>
            <a:r>
              <a:rPr lang="zh-CN" altLang="en-US" sz="2000" b="1" i="0" dirty="0">
                <a:solidFill>
                  <a:srgbClr val="000000"/>
                </a:solidFill>
                <a:effectLst/>
                <a:latin typeface="+mn-ea"/>
              </a:rPr>
              <a:t>期 </a:t>
            </a:r>
            <a:r>
              <a:rPr lang="en-US" altLang="zh-CN" sz="2000" b="1" i="0" dirty="0">
                <a:solidFill>
                  <a:srgbClr val="000000"/>
                </a:solidFill>
                <a:effectLst/>
                <a:latin typeface="+mn-ea"/>
              </a:rPr>
              <a:t>26% </a:t>
            </a:r>
            <a:r>
              <a:rPr lang="zh-CN" altLang="en-US" sz="2000" b="1" i="0" dirty="0">
                <a:solidFill>
                  <a:srgbClr val="000000"/>
                </a:solidFill>
                <a:effectLst/>
                <a:latin typeface="+mn-ea"/>
              </a:rPr>
              <a:t>和 </a:t>
            </a:r>
            <a:r>
              <a:rPr lang="en-US" altLang="zh-CN" sz="2000" b="1" i="0" dirty="0">
                <a:solidFill>
                  <a:srgbClr val="000000"/>
                </a:solidFill>
                <a:effectLst/>
                <a:latin typeface="+mn-ea"/>
              </a:rPr>
              <a:t>IIIC </a:t>
            </a:r>
            <a:r>
              <a:rPr lang="zh-CN" altLang="en-US" sz="2000" b="1" i="0" dirty="0">
                <a:solidFill>
                  <a:srgbClr val="000000"/>
                </a:solidFill>
                <a:effectLst/>
                <a:latin typeface="+mn-ea"/>
              </a:rPr>
              <a:t>期 </a:t>
            </a:r>
            <a:r>
              <a:rPr lang="en-US" altLang="zh-CN" sz="2000" b="1" i="0" dirty="0">
                <a:solidFill>
                  <a:srgbClr val="000000"/>
                </a:solidFill>
                <a:effectLst/>
                <a:latin typeface="+mn-ea"/>
              </a:rPr>
              <a:t>13%</a:t>
            </a:r>
            <a:endParaRPr lang="zh-CN" altLang="en-US" sz="2000" b="1" dirty="0">
              <a:latin typeface="+mn-ea"/>
            </a:endParaRPr>
          </a:p>
        </p:txBody>
      </p:sp>
      <p:sp>
        <p:nvSpPr>
          <p:cNvPr id="41" name="文本框 40"/>
          <p:cNvSpPr txBox="1"/>
          <p:nvPr/>
        </p:nvSpPr>
        <p:spPr>
          <a:xfrm>
            <a:off x="2189807" y="5235840"/>
            <a:ext cx="1699002" cy="461665"/>
          </a:xfrm>
          <a:prstGeom prst="rect">
            <a:avLst/>
          </a:prstGeom>
          <a:noFill/>
        </p:spPr>
        <p:txBody>
          <a:bodyPr wrap="square">
            <a:spAutoFit/>
          </a:bodyPr>
          <a:lstStyle/>
          <a:p>
            <a:r>
              <a:rPr lang="en-US" altLang="zh-CN" sz="2400" b="1" i="0" dirty="0">
                <a:solidFill>
                  <a:srgbClr val="29A9C5"/>
                </a:solidFill>
                <a:effectLst/>
                <a:latin typeface="+mn-ea"/>
              </a:rPr>
              <a:t>IIIA</a:t>
            </a:r>
            <a:r>
              <a:rPr lang="zh-CN" altLang="en-US" sz="2400" b="1" i="0" dirty="0">
                <a:solidFill>
                  <a:srgbClr val="29A9C5"/>
                </a:solidFill>
                <a:effectLst/>
                <a:latin typeface="+mn-ea"/>
              </a:rPr>
              <a:t>期</a:t>
            </a:r>
            <a:endParaRPr lang="zh-CN" altLang="en-US" sz="2400" dirty="0">
              <a:solidFill>
                <a:srgbClr val="29A9C5"/>
              </a:solidFill>
              <a:latin typeface="+mn-ea"/>
            </a:endParaRPr>
          </a:p>
        </p:txBody>
      </p:sp>
      <p:sp>
        <p:nvSpPr>
          <p:cNvPr id="42" name="文本框 41"/>
          <p:cNvSpPr txBox="1"/>
          <p:nvPr/>
        </p:nvSpPr>
        <p:spPr>
          <a:xfrm>
            <a:off x="5998595" y="5235840"/>
            <a:ext cx="1258695" cy="461665"/>
          </a:xfrm>
          <a:prstGeom prst="rect">
            <a:avLst/>
          </a:prstGeom>
          <a:noFill/>
        </p:spPr>
        <p:txBody>
          <a:bodyPr wrap="square">
            <a:spAutoFit/>
          </a:bodyPr>
          <a:lstStyle/>
          <a:p>
            <a:r>
              <a:rPr lang="en-US" altLang="zh-CN" sz="2400" b="1" i="0" dirty="0">
                <a:solidFill>
                  <a:srgbClr val="29A9C5"/>
                </a:solidFill>
                <a:effectLst/>
                <a:latin typeface="+mn-ea"/>
              </a:rPr>
              <a:t>IIIB</a:t>
            </a:r>
            <a:r>
              <a:rPr lang="zh-CN" altLang="en-US" sz="2400" b="1" i="0" dirty="0">
                <a:solidFill>
                  <a:srgbClr val="29A9C5"/>
                </a:solidFill>
                <a:effectLst/>
                <a:latin typeface="+mn-ea"/>
              </a:rPr>
              <a:t>期</a:t>
            </a:r>
            <a:endParaRPr lang="zh-CN" altLang="en-US" sz="2400" dirty="0">
              <a:solidFill>
                <a:srgbClr val="29A9C5"/>
              </a:solidFill>
              <a:latin typeface="+mn-ea"/>
            </a:endParaRPr>
          </a:p>
        </p:txBody>
      </p:sp>
      <p:sp>
        <p:nvSpPr>
          <p:cNvPr id="43" name="文本框 42"/>
          <p:cNvSpPr txBox="1"/>
          <p:nvPr/>
        </p:nvSpPr>
        <p:spPr>
          <a:xfrm>
            <a:off x="9542995" y="5281144"/>
            <a:ext cx="1444724" cy="461665"/>
          </a:xfrm>
          <a:prstGeom prst="rect">
            <a:avLst/>
          </a:prstGeom>
          <a:noFill/>
        </p:spPr>
        <p:txBody>
          <a:bodyPr wrap="square">
            <a:spAutoFit/>
          </a:bodyPr>
          <a:lstStyle/>
          <a:p>
            <a:r>
              <a:rPr lang="en-US" altLang="zh-CN" sz="2400" b="1" i="0" dirty="0">
                <a:solidFill>
                  <a:srgbClr val="29A9C5"/>
                </a:solidFill>
                <a:effectLst/>
                <a:latin typeface="+mn-ea"/>
              </a:rPr>
              <a:t>IIIC</a:t>
            </a:r>
            <a:r>
              <a:rPr lang="zh-CN" altLang="en-US" sz="2400" b="1" i="0" dirty="0">
                <a:solidFill>
                  <a:srgbClr val="29A9C5"/>
                </a:solidFill>
                <a:effectLst/>
                <a:latin typeface="+mn-ea"/>
              </a:rPr>
              <a:t>期</a:t>
            </a:r>
            <a:endParaRPr lang="zh-CN" altLang="en-US" sz="2400" dirty="0">
              <a:solidFill>
                <a:srgbClr val="29A9C5"/>
              </a:solidFill>
              <a:latin typeface="+mn-ea"/>
            </a:endParaRPr>
          </a:p>
        </p:txBody>
      </p:sp>
      <p:sp>
        <p:nvSpPr>
          <p:cNvPr id="17" name="椭圆 16"/>
          <p:cNvSpPr/>
          <p:nvPr/>
        </p:nvSpPr>
        <p:spPr>
          <a:xfrm>
            <a:off x="2132476" y="2658302"/>
            <a:ext cx="313960" cy="311824"/>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8" name="椭圆 17"/>
          <p:cNvSpPr/>
          <p:nvPr/>
        </p:nvSpPr>
        <p:spPr>
          <a:xfrm>
            <a:off x="2221250" y="2743017"/>
            <a:ext cx="136412" cy="135484"/>
          </a:xfrm>
          <a:prstGeom prst="ellipse">
            <a:avLst/>
          </a:prstGeom>
          <a:solidFill>
            <a:srgbClr val="FFFFFF">
              <a:lumMod val="50000"/>
            </a:srgbClr>
          </a:solidFill>
          <a:ln w="25400" cap="flat" cmpd="sng" algn="ctr">
            <a:noFill/>
            <a:prstDash val="solid"/>
          </a:ln>
          <a:effectLst>
            <a:outerShdw blurRad="38100" dist="12700" dir="2700000" algn="tl"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19" name="椭圆 18"/>
          <p:cNvSpPr/>
          <p:nvPr/>
        </p:nvSpPr>
        <p:spPr>
          <a:xfrm>
            <a:off x="3663623" y="3901735"/>
            <a:ext cx="313960" cy="311824"/>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0" name="椭圆 19"/>
          <p:cNvSpPr/>
          <p:nvPr/>
        </p:nvSpPr>
        <p:spPr>
          <a:xfrm>
            <a:off x="3752397" y="3986450"/>
            <a:ext cx="136412" cy="135484"/>
          </a:xfrm>
          <a:prstGeom prst="ellipse">
            <a:avLst/>
          </a:prstGeom>
          <a:solidFill>
            <a:srgbClr val="FFFFFF">
              <a:lumMod val="50000"/>
            </a:srgbClr>
          </a:solidFill>
          <a:ln w="25400" cap="flat" cmpd="sng" algn="ctr">
            <a:noFill/>
            <a:prstDash val="solid"/>
          </a:ln>
          <a:effectLst>
            <a:outerShdw blurRad="38100" dist="12700" dir="2700000" algn="tl"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2" name="椭圆 21"/>
          <p:cNvSpPr/>
          <p:nvPr/>
        </p:nvSpPr>
        <p:spPr>
          <a:xfrm>
            <a:off x="6450516" y="2533204"/>
            <a:ext cx="313960" cy="311824"/>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3" name="椭圆 22"/>
          <p:cNvSpPr/>
          <p:nvPr/>
        </p:nvSpPr>
        <p:spPr>
          <a:xfrm>
            <a:off x="6539290" y="2617919"/>
            <a:ext cx="136412" cy="135484"/>
          </a:xfrm>
          <a:prstGeom prst="ellipse">
            <a:avLst/>
          </a:prstGeom>
          <a:solidFill>
            <a:srgbClr val="FFFFFF">
              <a:lumMod val="50000"/>
            </a:srgbClr>
          </a:solidFill>
          <a:ln w="25400" cap="flat" cmpd="sng" algn="ctr">
            <a:noFill/>
            <a:prstDash val="solid"/>
          </a:ln>
          <a:effectLst>
            <a:outerShdw blurRad="38100" dist="12700" dir="2700000" algn="tl"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4" name="椭圆 23"/>
          <p:cNvSpPr/>
          <p:nvPr/>
        </p:nvSpPr>
        <p:spPr>
          <a:xfrm>
            <a:off x="7285731" y="3930967"/>
            <a:ext cx="313960" cy="311824"/>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5" name="椭圆 24"/>
          <p:cNvSpPr/>
          <p:nvPr/>
        </p:nvSpPr>
        <p:spPr>
          <a:xfrm>
            <a:off x="7374505" y="4015682"/>
            <a:ext cx="136412" cy="135484"/>
          </a:xfrm>
          <a:prstGeom prst="ellipse">
            <a:avLst/>
          </a:prstGeom>
          <a:solidFill>
            <a:srgbClr val="FFFFFF">
              <a:lumMod val="50000"/>
            </a:srgbClr>
          </a:solidFill>
          <a:ln w="25400" cap="flat" cmpd="sng" algn="ctr">
            <a:noFill/>
            <a:prstDash val="solid"/>
          </a:ln>
          <a:effectLst>
            <a:outerShdw blurRad="38100" dist="12700" dir="2700000" algn="tl"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6" name="椭圆 25"/>
          <p:cNvSpPr/>
          <p:nvPr/>
        </p:nvSpPr>
        <p:spPr>
          <a:xfrm>
            <a:off x="10764751" y="3067846"/>
            <a:ext cx="313960" cy="311824"/>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7" name="椭圆 26"/>
          <p:cNvSpPr/>
          <p:nvPr/>
        </p:nvSpPr>
        <p:spPr>
          <a:xfrm>
            <a:off x="10853525" y="3152561"/>
            <a:ext cx="136412" cy="135484"/>
          </a:xfrm>
          <a:prstGeom prst="ellipse">
            <a:avLst/>
          </a:prstGeom>
          <a:solidFill>
            <a:srgbClr val="FFFFFF">
              <a:lumMod val="50000"/>
            </a:srgbClr>
          </a:solidFill>
          <a:ln w="25400" cap="flat" cmpd="sng" algn="ctr">
            <a:noFill/>
            <a:prstDash val="solid"/>
          </a:ln>
          <a:effectLst>
            <a:outerShdw blurRad="38100" dist="12700" dir="2700000" algn="tl"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8" name="椭圆 27"/>
          <p:cNvSpPr/>
          <p:nvPr/>
        </p:nvSpPr>
        <p:spPr>
          <a:xfrm>
            <a:off x="10898945" y="3920143"/>
            <a:ext cx="313960" cy="311824"/>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29" name="椭圆 28"/>
          <p:cNvSpPr/>
          <p:nvPr/>
        </p:nvSpPr>
        <p:spPr>
          <a:xfrm>
            <a:off x="10987719" y="4004858"/>
            <a:ext cx="136412" cy="135484"/>
          </a:xfrm>
          <a:prstGeom prst="ellipse">
            <a:avLst/>
          </a:prstGeom>
          <a:solidFill>
            <a:srgbClr val="FFFFFF">
              <a:lumMod val="50000"/>
            </a:srgbClr>
          </a:solidFill>
          <a:ln w="25400" cap="flat" cmpd="sng" algn="ctr">
            <a:noFill/>
            <a:prstDash val="solid"/>
          </a:ln>
          <a:effectLst>
            <a:outerShdw blurRad="38100" dist="12700" dir="2700000" algn="tl"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n-ea"/>
              <a:cs typeface="+mn-cs"/>
            </a:endParaRPr>
          </a:p>
        </p:txBody>
      </p:sp>
      <p:sp>
        <p:nvSpPr>
          <p:cNvPr id="31" name="椭圆 30"/>
          <p:cNvSpPr/>
          <p:nvPr/>
        </p:nvSpPr>
        <p:spPr>
          <a:xfrm>
            <a:off x="1601061" y="2589024"/>
            <a:ext cx="2373255" cy="2397687"/>
          </a:xfrm>
          <a:prstGeom prst="ellipse">
            <a:avLst/>
          </a:prstGeom>
          <a:noFill/>
          <a:ln w="28575" cap="flat" cmpd="sng" algn="ctr">
            <a:solidFill>
              <a:schemeClr val="bg1"/>
            </a:solidFill>
            <a:prstDash val="solid"/>
          </a:ln>
          <a:effectLst>
            <a:innerShdw blurRad="76200" dist="25400" dir="13500000">
              <a:prstClr val="black">
                <a:alpha val="31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a:ln>
                  <a:noFill/>
                </a:ln>
                <a:solidFill>
                  <a:srgbClr val="29A9C5"/>
                </a:solidFill>
                <a:effectLst/>
                <a:uLnTx/>
                <a:uFillTx/>
                <a:latin typeface="+mn-ea"/>
                <a:cs typeface="+mn-cs"/>
              </a:rPr>
              <a:t> 	</a:t>
            </a:r>
            <a:endParaRPr kumimoji="0" lang="zh-CN" altLang="en-US" sz="1800" b="0" i="0" u="none" strike="noStrike" kern="0" cap="none" spc="0" normalizeH="0" baseline="0" noProof="0">
              <a:ln>
                <a:noFill/>
              </a:ln>
              <a:solidFill>
                <a:srgbClr val="29A9C5"/>
              </a:solidFill>
              <a:effectLst/>
              <a:uLnTx/>
              <a:uFillTx/>
              <a:latin typeface="+mn-ea"/>
              <a:cs typeface="+mn-cs"/>
            </a:endParaRPr>
          </a:p>
        </p:txBody>
      </p:sp>
      <p:sp>
        <p:nvSpPr>
          <p:cNvPr id="32" name="椭圆 31"/>
          <p:cNvSpPr/>
          <p:nvPr/>
        </p:nvSpPr>
        <p:spPr>
          <a:xfrm>
            <a:off x="5226436" y="2632201"/>
            <a:ext cx="2373255" cy="2397687"/>
          </a:xfrm>
          <a:prstGeom prst="ellipse">
            <a:avLst/>
          </a:prstGeom>
          <a:noFill/>
          <a:ln w="28575" cap="flat" cmpd="sng" algn="ctr">
            <a:solidFill>
              <a:schemeClr val="bg1"/>
            </a:solidFill>
            <a:prstDash val="solid"/>
          </a:ln>
          <a:effectLst>
            <a:innerShdw blurRad="76200" dist="25400" dir="13500000">
              <a:prstClr val="black">
                <a:alpha val="31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a:ln>
                  <a:noFill/>
                </a:ln>
                <a:solidFill>
                  <a:srgbClr val="29A9C5"/>
                </a:solidFill>
                <a:effectLst/>
                <a:uLnTx/>
                <a:uFillTx/>
                <a:latin typeface="+mn-ea"/>
                <a:cs typeface="+mn-cs"/>
              </a:rPr>
              <a:t> 	</a:t>
            </a:r>
            <a:endParaRPr kumimoji="0" lang="zh-CN" altLang="en-US" sz="1800" b="0" i="0" u="none" strike="noStrike" kern="0" cap="none" spc="0" normalizeH="0" baseline="0" noProof="0">
              <a:ln>
                <a:noFill/>
              </a:ln>
              <a:solidFill>
                <a:srgbClr val="29A9C5"/>
              </a:solidFill>
              <a:effectLst/>
              <a:uLnTx/>
              <a:uFillTx/>
              <a:latin typeface="+mn-ea"/>
              <a:cs typeface="+mn-cs"/>
            </a:endParaRPr>
          </a:p>
        </p:txBody>
      </p:sp>
      <p:sp>
        <p:nvSpPr>
          <p:cNvPr id="34" name="椭圆 33"/>
          <p:cNvSpPr/>
          <p:nvPr/>
        </p:nvSpPr>
        <p:spPr>
          <a:xfrm>
            <a:off x="8820600" y="2636969"/>
            <a:ext cx="2373255" cy="2397687"/>
          </a:xfrm>
          <a:prstGeom prst="ellipse">
            <a:avLst/>
          </a:prstGeom>
          <a:noFill/>
          <a:ln w="28575" cap="flat" cmpd="sng" algn="ctr">
            <a:solidFill>
              <a:schemeClr val="bg1"/>
            </a:solidFill>
            <a:prstDash val="solid"/>
          </a:ln>
          <a:effectLst>
            <a:innerShdw blurRad="76200" dist="25400" dir="13500000">
              <a:prstClr val="black">
                <a:alpha val="31000"/>
              </a:prstClr>
            </a:inn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a:ln>
                  <a:noFill/>
                </a:ln>
                <a:solidFill>
                  <a:srgbClr val="29A9C5"/>
                </a:solidFill>
                <a:effectLst/>
                <a:uLnTx/>
                <a:uFillTx/>
                <a:latin typeface="+mn-ea"/>
                <a:cs typeface="+mn-cs"/>
              </a:rPr>
              <a:t> 	</a:t>
            </a:r>
            <a:endParaRPr kumimoji="0" lang="zh-CN" altLang="en-US" sz="1800" b="0" i="0" u="none" strike="noStrike" kern="0" cap="none" spc="0" normalizeH="0" baseline="0" noProof="0" dirty="0">
              <a:ln>
                <a:noFill/>
              </a:ln>
              <a:solidFill>
                <a:srgbClr val="29A9C5"/>
              </a:solidFill>
              <a:effectLst/>
              <a:uLnTx/>
              <a:uFillTx/>
              <a:latin typeface="+mn-ea"/>
              <a:cs typeface="+mn-cs"/>
            </a:endParaRPr>
          </a:p>
        </p:txBody>
      </p:sp>
      <p:sp>
        <p:nvSpPr>
          <p:cNvPr id="37" name="iconfont-11194-5288586"/>
          <p:cNvSpPr/>
          <p:nvPr/>
        </p:nvSpPr>
        <p:spPr>
          <a:xfrm>
            <a:off x="858498" y="1606561"/>
            <a:ext cx="243468" cy="224803"/>
          </a:xfrm>
          <a:custGeom>
            <a:avLst/>
            <a:gdLst>
              <a:gd name="connsiteX0" fmla="*/ 313447 w 513564"/>
              <a:gd name="connsiteY0" fmla="*/ 15172 h 435886"/>
              <a:gd name="connsiteX1" fmla="*/ 324804 w 513564"/>
              <a:gd name="connsiteY1" fmla="*/ 21748 h 435886"/>
              <a:gd name="connsiteX2" fmla="*/ 505231 w 513564"/>
              <a:gd name="connsiteY2" fmla="*/ 201533 h 435886"/>
              <a:gd name="connsiteX3" fmla="*/ 506136 w 513564"/>
              <a:gd name="connsiteY3" fmla="*/ 201200 h 435886"/>
              <a:gd name="connsiteX4" fmla="*/ 506136 w 513564"/>
              <a:gd name="connsiteY4" fmla="*/ 233814 h 435886"/>
              <a:gd name="connsiteX5" fmla="*/ 325756 w 513564"/>
              <a:gd name="connsiteY5" fmla="*/ 413599 h 435886"/>
              <a:gd name="connsiteX6" fmla="*/ 301661 w 513564"/>
              <a:gd name="connsiteY6" fmla="*/ 419408 h 435886"/>
              <a:gd name="connsiteX7" fmla="*/ 287661 w 513564"/>
              <a:gd name="connsiteY7" fmla="*/ 397744 h 435886"/>
              <a:gd name="connsiteX8" fmla="*/ 287661 w 513564"/>
              <a:gd name="connsiteY8" fmla="*/ 301757 h 435886"/>
              <a:gd name="connsiteX9" fmla="*/ 159948 w 513564"/>
              <a:gd name="connsiteY9" fmla="*/ 301757 h 435886"/>
              <a:gd name="connsiteX10" fmla="*/ 136805 w 513564"/>
              <a:gd name="connsiteY10" fmla="*/ 284093 h 435886"/>
              <a:gd name="connsiteX11" fmla="*/ 136805 w 513564"/>
              <a:gd name="connsiteY11" fmla="*/ 278618 h 435886"/>
              <a:gd name="connsiteX12" fmla="*/ 136805 w 513564"/>
              <a:gd name="connsiteY12" fmla="*/ 158539 h 435886"/>
              <a:gd name="connsiteX13" fmla="*/ 159948 w 513564"/>
              <a:gd name="connsiteY13" fmla="*/ 135399 h 435886"/>
              <a:gd name="connsiteX14" fmla="*/ 286709 w 513564"/>
              <a:gd name="connsiteY14" fmla="*/ 135399 h 435886"/>
              <a:gd name="connsiteX15" fmla="*/ 286709 w 513564"/>
              <a:gd name="connsiteY15" fmla="*/ 37270 h 435886"/>
              <a:gd name="connsiteX16" fmla="*/ 300375 w 513564"/>
              <a:gd name="connsiteY16" fmla="*/ 16273 h 435886"/>
              <a:gd name="connsiteX17" fmla="*/ 313447 w 513564"/>
              <a:gd name="connsiteY17" fmla="*/ 15172 h 435886"/>
              <a:gd name="connsiteX18" fmla="*/ 82903 w 513564"/>
              <a:gd name="connsiteY18" fmla="*/ 0 h 435886"/>
              <a:gd name="connsiteX19" fmla="*/ 208757 w 513564"/>
              <a:gd name="connsiteY19" fmla="*/ 0 h 435886"/>
              <a:gd name="connsiteX20" fmla="*/ 223994 w 513564"/>
              <a:gd name="connsiteY20" fmla="*/ 15241 h 435886"/>
              <a:gd name="connsiteX21" fmla="*/ 208757 w 513564"/>
              <a:gd name="connsiteY21" fmla="*/ 30482 h 435886"/>
              <a:gd name="connsiteX22" fmla="*/ 82903 w 513564"/>
              <a:gd name="connsiteY22" fmla="*/ 30482 h 435886"/>
              <a:gd name="connsiteX23" fmla="*/ 30476 w 513564"/>
              <a:gd name="connsiteY23" fmla="*/ 82634 h 435886"/>
              <a:gd name="connsiteX24" fmla="*/ 30476 w 513564"/>
              <a:gd name="connsiteY24" fmla="*/ 353300 h 435886"/>
              <a:gd name="connsiteX25" fmla="*/ 82903 w 513564"/>
              <a:gd name="connsiteY25" fmla="*/ 405738 h 435886"/>
              <a:gd name="connsiteX26" fmla="*/ 208757 w 513564"/>
              <a:gd name="connsiteY26" fmla="*/ 405738 h 435886"/>
              <a:gd name="connsiteX27" fmla="*/ 208757 w 513564"/>
              <a:gd name="connsiteY27" fmla="*/ 405405 h 435886"/>
              <a:gd name="connsiteX28" fmla="*/ 223994 w 513564"/>
              <a:gd name="connsiteY28" fmla="*/ 420645 h 435886"/>
              <a:gd name="connsiteX29" fmla="*/ 208757 w 513564"/>
              <a:gd name="connsiteY29" fmla="*/ 435886 h 435886"/>
              <a:gd name="connsiteX30" fmla="*/ 82903 w 513564"/>
              <a:gd name="connsiteY30" fmla="*/ 435886 h 435886"/>
              <a:gd name="connsiteX31" fmla="*/ 0 w 513564"/>
              <a:gd name="connsiteY31" fmla="*/ 353014 h 435886"/>
              <a:gd name="connsiteX32" fmla="*/ 0 w 513564"/>
              <a:gd name="connsiteY32" fmla="*/ 82634 h 435886"/>
              <a:gd name="connsiteX33" fmla="*/ 82903 w 513564"/>
              <a:gd name="connsiteY33" fmla="*/ 0 h 43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3564" h="435886">
                <a:moveTo>
                  <a:pt x="313447" y="15172"/>
                </a:moveTo>
                <a:cubicBezTo>
                  <a:pt x="317720" y="16130"/>
                  <a:pt x="321708" y="18368"/>
                  <a:pt x="324804" y="21748"/>
                </a:cubicBezTo>
                <a:lnTo>
                  <a:pt x="505231" y="201533"/>
                </a:lnTo>
                <a:lnTo>
                  <a:pt x="506136" y="201200"/>
                </a:lnTo>
                <a:cubicBezTo>
                  <a:pt x="516040" y="209818"/>
                  <a:pt x="516040" y="225196"/>
                  <a:pt x="506136" y="233814"/>
                </a:cubicBezTo>
                <a:lnTo>
                  <a:pt x="325756" y="413599"/>
                </a:lnTo>
                <a:cubicBezTo>
                  <a:pt x="319709" y="420408"/>
                  <a:pt x="310090" y="422693"/>
                  <a:pt x="301661" y="419408"/>
                </a:cubicBezTo>
                <a:cubicBezTo>
                  <a:pt x="292709" y="416075"/>
                  <a:pt x="287042" y="407267"/>
                  <a:pt x="287661" y="397744"/>
                </a:cubicBezTo>
                <a:lnTo>
                  <a:pt x="287661" y="301757"/>
                </a:lnTo>
                <a:lnTo>
                  <a:pt x="159948" y="301757"/>
                </a:lnTo>
                <a:cubicBezTo>
                  <a:pt x="148853" y="302614"/>
                  <a:pt x="138900" y="294996"/>
                  <a:pt x="136805" y="284093"/>
                </a:cubicBezTo>
                <a:cubicBezTo>
                  <a:pt x="136615" y="282284"/>
                  <a:pt x="136615" y="280427"/>
                  <a:pt x="136805" y="278618"/>
                </a:cubicBezTo>
                <a:lnTo>
                  <a:pt x="136805" y="158539"/>
                </a:lnTo>
                <a:cubicBezTo>
                  <a:pt x="135805" y="145398"/>
                  <a:pt x="146758" y="134447"/>
                  <a:pt x="159948" y="135399"/>
                </a:cubicBezTo>
                <a:lnTo>
                  <a:pt x="286709" y="135399"/>
                </a:lnTo>
                <a:lnTo>
                  <a:pt x="286709" y="37270"/>
                </a:lnTo>
                <a:cubicBezTo>
                  <a:pt x="286423" y="28128"/>
                  <a:pt x="291899" y="19749"/>
                  <a:pt x="300375" y="16273"/>
                </a:cubicBezTo>
                <a:cubicBezTo>
                  <a:pt x="304613" y="14535"/>
                  <a:pt x="309173" y="14214"/>
                  <a:pt x="313447" y="15172"/>
                </a:cubicBezTo>
                <a:close/>
                <a:moveTo>
                  <a:pt x="82903" y="0"/>
                </a:moveTo>
                <a:lnTo>
                  <a:pt x="208757" y="0"/>
                </a:lnTo>
                <a:cubicBezTo>
                  <a:pt x="217185" y="0"/>
                  <a:pt x="223994" y="6858"/>
                  <a:pt x="223994" y="15241"/>
                </a:cubicBezTo>
                <a:cubicBezTo>
                  <a:pt x="223994" y="23671"/>
                  <a:pt x="217185" y="30482"/>
                  <a:pt x="208757" y="30482"/>
                </a:cubicBezTo>
                <a:lnTo>
                  <a:pt x="82903" y="30482"/>
                </a:lnTo>
                <a:cubicBezTo>
                  <a:pt x="54046" y="30482"/>
                  <a:pt x="30666" y="53771"/>
                  <a:pt x="30476" y="82634"/>
                </a:cubicBezTo>
                <a:lnTo>
                  <a:pt x="30476" y="353300"/>
                </a:lnTo>
                <a:cubicBezTo>
                  <a:pt x="30476" y="382258"/>
                  <a:pt x="53951" y="405738"/>
                  <a:pt x="82903" y="405738"/>
                </a:cubicBezTo>
                <a:lnTo>
                  <a:pt x="208757" y="405738"/>
                </a:lnTo>
                <a:lnTo>
                  <a:pt x="208757" y="405405"/>
                </a:lnTo>
                <a:cubicBezTo>
                  <a:pt x="217185" y="405405"/>
                  <a:pt x="223994" y="412263"/>
                  <a:pt x="223994" y="420645"/>
                </a:cubicBezTo>
                <a:cubicBezTo>
                  <a:pt x="223994" y="429075"/>
                  <a:pt x="217185" y="435886"/>
                  <a:pt x="208757" y="435886"/>
                </a:cubicBezTo>
                <a:lnTo>
                  <a:pt x="82903" y="435886"/>
                </a:lnTo>
                <a:cubicBezTo>
                  <a:pt x="37094" y="435886"/>
                  <a:pt x="0" y="398784"/>
                  <a:pt x="0" y="353014"/>
                </a:cubicBezTo>
                <a:lnTo>
                  <a:pt x="0" y="82634"/>
                </a:lnTo>
                <a:cubicBezTo>
                  <a:pt x="191" y="36959"/>
                  <a:pt x="37237" y="0"/>
                  <a:pt x="82903" y="0"/>
                </a:cubicBezTo>
                <a:close/>
              </a:path>
            </a:pathLst>
          </a:custGeom>
          <a:solidFill>
            <a:srgbClr val="29A9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Tree>
    <p:custDataLst>
      <p:tags r:id="rId4"/>
    </p:custData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ea"/>
              </a:rPr>
              <a:t>III</a:t>
            </a:r>
            <a:r>
              <a:rPr lang="zh-CN" altLang="en-US" dirty="0">
                <a:latin typeface="+mn-ea"/>
              </a:rPr>
              <a:t>期</a:t>
            </a:r>
            <a:r>
              <a:rPr lang="en-US" altLang="zh-CN" dirty="0">
                <a:latin typeface="+mn-ea"/>
              </a:rPr>
              <a:t>NSCLC</a:t>
            </a:r>
            <a:r>
              <a:rPr lang="zh-CN" altLang="en-US" dirty="0">
                <a:latin typeface="+mn-ea"/>
              </a:rPr>
              <a:t>患者最佳治疗策略存在争议</a:t>
            </a:r>
            <a:endParaRPr lang="zh-CN" altLang="en-US" dirty="0">
              <a:latin typeface="+mn-ea"/>
            </a:endParaRPr>
          </a:p>
        </p:txBody>
      </p:sp>
      <p:sp>
        <p:nvSpPr>
          <p:cNvPr id="9" name="文本框 8"/>
          <p:cNvSpPr txBox="1"/>
          <p:nvPr/>
        </p:nvSpPr>
        <p:spPr>
          <a:xfrm>
            <a:off x="1717855" y="1501429"/>
            <a:ext cx="9075283" cy="861774"/>
          </a:xfrm>
          <a:prstGeom prst="rect">
            <a:avLst/>
          </a:prstGeom>
          <a:noFill/>
        </p:spPr>
        <p:txBody>
          <a:bodyPr wrap="square">
            <a:spAutoFit/>
          </a:bodyPr>
          <a:lstStyle/>
          <a:p>
            <a:pPr>
              <a:lnSpc>
                <a:spcPct val="125000"/>
              </a:lnSpc>
            </a:pPr>
            <a:r>
              <a:rPr lang="en-US" altLang="zh-CN" sz="1600" b="0" i="0" dirty="0">
                <a:effectLst/>
                <a:latin typeface="+mn-ea"/>
              </a:rPr>
              <a:t>III</a:t>
            </a:r>
            <a:r>
              <a:rPr lang="zh-CN" altLang="en-US" sz="1600" b="0" i="0" dirty="0">
                <a:effectLst/>
                <a:latin typeface="+mn-ea"/>
              </a:rPr>
              <a:t>期</a:t>
            </a:r>
            <a:r>
              <a:rPr lang="en-US" altLang="zh-CN" sz="1600" b="0" i="0" dirty="0">
                <a:effectLst/>
                <a:latin typeface="+mn-ea"/>
              </a:rPr>
              <a:t>NSCLC</a:t>
            </a:r>
            <a:r>
              <a:rPr lang="zh-CN" altLang="en-US" sz="1600" b="0" i="0" dirty="0">
                <a:effectLst/>
                <a:latin typeface="+mn-ea"/>
              </a:rPr>
              <a:t>患者病情复杂且异质性高，其最佳方法存在很多争议，因为患者是否为可切除具有</a:t>
            </a:r>
            <a:r>
              <a:rPr lang="zh-CN" altLang="en-US" sz="2000" b="1" i="0" dirty="0">
                <a:solidFill>
                  <a:srgbClr val="203864"/>
                </a:solidFill>
                <a:effectLst/>
                <a:latin typeface="+mn-ea"/>
              </a:rPr>
              <a:t>高度主观性</a:t>
            </a:r>
            <a:r>
              <a:rPr lang="zh-CN" altLang="en-US" sz="2000" b="0" i="0" dirty="0">
                <a:solidFill>
                  <a:srgbClr val="203864"/>
                </a:solidFill>
                <a:effectLst/>
                <a:latin typeface="+mn-ea"/>
              </a:rPr>
              <a:t>，</a:t>
            </a:r>
            <a:r>
              <a:rPr lang="zh-CN" altLang="en-US" sz="2000" b="1" i="0" dirty="0">
                <a:solidFill>
                  <a:srgbClr val="203864"/>
                </a:solidFill>
                <a:effectLst/>
                <a:latin typeface="+mn-ea"/>
              </a:rPr>
              <a:t>并且非常依赖外科医生和机构的决定</a:t>
            </a:r>
            <a:r>
              <a:rPr lang="zh-CN" altLang="en-US" sz="1600" b="0" i="0" dirty="0">
                <a:effectLst/>
                <a:latin typeface="+mn-ea"/>
              </a:rPr>
              <a:t>，因此，患者的最佳策略仍有争议</a:t>
            </a:r>
            <a:r>
              <a:rPr lang="en-US" altLang="zh-CN" sz="1600" b="0" i="0" baseline="30000" dirty="0">
                <a:effectLst/>
                <a:latin typeface="+mn-ea"/>
              </a:rPr>
              <a:t>1</a:t>
            </a:r>
            <a:endParaRPr lang="zh-CN" altLang="en-US" sz="1600" baseline="30000" dirty="0">
              <a:latin typeface="+mn-ea"/>
            </a:endParaRPr>
          </a:p>
        </p:txBody>
      </p:sp>
      <p:cxnSp>
        <p:nvCxnSpPr>
          <p:cNvPr id="42" name="直接连接符 41"/>
          <p:cNvCxnSpPr/>
          <p:nvPr/>
        </p:nvCxnSpPr>
        <p:spPr>
          <a:xfrm>
            <a:off x="5564373" y="2810740"/>
            <a:ext cx="0" cy="3401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4" name="直接箭头连接符 43"/>
          <p:cNvCxnSpPr/>
          <p:nvPr/>
        </p:nvCxnSpPr>
        <p:spPr>
          <a:xfrm>
            <a:off x="3703243" y="3549174"/>
            <a:ext cx="0" cy="219457"/>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接箭头连接符 44"/>
          <p:cNvCxnSpPr/>
          <p:nvPr/>
        </p:nvCxnSpPr>
        <p:spPr>
          <a:xfrm>
            <a:off x="7041754" y="3549174"/>
            <a:ext cx="0" cy="219457"/>
          </a:xfrm>
          <a:prstGeom prst="straightConnector1">
            <a:avLst/>
          </a:prstGeom>
          <a:ln w="28575">
            <a:solidFill>
              <a:srgbClr val="08A2BE"/>
            </a:solidFill>
            <a:tailEnd type="triangle"/>
          </a:ln>
        </p:spPr>
        <p:style>
          <a:lnRef idx="1">
            <a:schemeClr val="accent1"/>
          </a:lnRef>
          <a:fillRef idx="0">
            <a:schemeClr val="accent1"/>
          </a:fillRef>
          <a:effectRef idx="0">
            <a:schemeClr val="accent1"/>
          </a:effectRef>
          <a:fontRef idx="minor">
            <a:schemeClr val="tx1"/>
          </a:fontRef>
        </p:style>
      </p:cxnSp>
      <p:sp>
        <p:nvSpPr>
          <p:cNvPr id="57" name="iconfont-11194-5288586"/>
          <p:cNvSpPr/>
          <p:nvPr/>
        </p:nvSpPr>
        <p:spPr>
          <a:xfrm>
            <a:off x="1400486" y="1575878"/>
            <a:ext cx="243468" cy="224803"/>
          </a:xfrm>
          <a:custGeom>
            <a:avLst/>
            <a:gdLst>
              <a:gd name="connsiteX0" fmla="*/ 313447 w 513564"/>
              <a:gd name="connsiteY0" fmla="*/ 15172 h 435886"/>
              <a:gd name="connsiteX1" fmla="*/ 324804 w 513564"/>
              <a:gd name="connsiteY1" fmla="*/ 21748 h 435886"/>
              <a:gd name="connsiteX2" fmla="*/ 505231 w 513564"/>
              <a:gd name="connsiteY2" fmla="*/ 201533 h 435886"/>
              <a:gd name="connsiteX3" fmla="*/ 506136 w 513564"/>
              <a:gd name="connsiteY3" fmla="*/ 201200 h 435886"/>
              <a:gd name="connsiteX4" fmla="*/ 506136 w 513564"/>
              <a:gd name="connsiteY4" fmla="*/ 233814 h 435886"/>
              <a:gd name="connsiteX5" fmla="*/ 325756 w 513564"/>
              <a:gd name="connsiteY5" fmla="*/ 413599 h 435886"/>
              <a:gd name="connsiteX6" fmla="*/ 301661 w 513564"/>
              <a:gd name="connsiteY6" fmla="*/ 419408 h 435886"/>
              <a:gd name="connsiteX7" fmla="*/ 287661 w 513564"/>
              <a:gd name="connsiteY7" fmla="*/ 397744 h 435886"/>
              <a:gd name="connsiteX8" fmla="*/ 287661 w 513564"/>
              <a:gd name="connsiteY8" fmla="*/ 301757 h 435886"/>
              <a:gd name="connsiteX9" fmla="*/ 159948 w 513564"/>
              <a:gd name="connsiteY9" fmla="*/ 301757 h 435886"/>
              <a:gd name="connsiteX10" fmla="*/ 136805 w 513564"/>
              <a:gd name="connsiteY10" fmla="*/ 284093 h 435886"/>
              <a:gd name="connsiteX11" fmla="*/ 136805 w 513564"/>
              <a:gd name="connsiteY11" fmla="*/ 278618 h 435886"/>
              <a:gd name="connsiteX12" fmla="*/ 136805 w 513564"/>
              <a:gd name="connsiteY12" fmla="*/ 158539 h 435886"/>
              <a:gd name="connsiteX13" fmla="*/ 159948 w 513564"/>
              <a:gd name="connsiteY13" fmla="*/ 135399 h 435886"/>
              <a:gd name="connsiteX14" fmla="*/ 286709 w 513564"/>
              <a:gd name="connsiteY14" fmla="*/ 135399 h 435886"/>
              <a:gd name="connsiteX15" fmla="*/ 286709 w 513564"/>
              <a:gd name="connsiteY15" fmla="*/ 37270 h 435886"/>
              <a:gd name="connsiteX16" fmla="*/ 300375 w 513564"/>
              <a:gd name="connsiteY16" fmla="*/ 16273 h 435886"/>
              <a:gd name="connsiteX17" fmla="*/ 313447 w 513564"/>
              <a:gd name="connsiteY17" fmla="*/ 15172 h 435886"/>
              <a:gd name="connsiteX18" fmla="*/ 82903 w 513564"/>
              <a:gd name="connsiteY18" fmla="*/ 0 h 435886"/>
              <a:gd name="connsiteX19" fmla="*/ 208757 w 513564"/>
              <a:gd name="connsiteY19" fmla="*/ 0 h 435886"/>
              <a:gd name="connsiteX20" fmla="*/ 223994 w 513564"/>
              <a:gd name="connsiteY20" fmla="*/ 15241 h 435886"/>
              <a:gd name="connsiteX21" fmla="*/ 208757 w 513564"/>
              <a:gd name="connsiteY21" fmla="*/ 30482 h 435886"/>
              <a:gd name="connsiteX22" fmla="*/ 82903 w 513564"/>
              <a:gd name="connsiteY22" fmla="*/ 30482 h 435886"/>
              <a:gd name="connsiteX23" fmla="*/ 30476 w 513564"/>
              <a:gd name="connsiteY23" fmla="*/ 82634 h 435886"/>
              <a:gd name="connsiteX24" fmla="*/ 30476 w 513564"/>
              <a:gd name="connsiteY24" fmla="*/ 353300 h 435886"/>
              <a:gd name="connsiteX25" fmla="*/ 82903 w 513564"/>
              <a:gd name="connsiteY25" fmla="*/ 405738 h 435886"/>
              <a:gd name="connsiteX26" fmla="*/ 208757 w 513564"/>
              <a:gd name="connsiteY26" fmla="*/ 405738 h 435886"/>
              <a:gd name="connsiteX27" fmla="*/ 208757 w 513564"/>
              <a:gd name="connsiteY27" fmla="*/ 405405 h 435886"/>
              <a:gd name="connsiteX28" fmla="*/ 223994 w 513564"/>
              <a:gd name="connsiteY28" fmla="*/ 420645 h 435886"/>
              <a:gd name="connsiteX29" fmla="*/ 208757 w 513564"/>
              <a:gd name="connsiteY29" fmla="*/ 435886 h 435886"/>
              <a:gd name="connsiteX30" fmla="*/ 82903 w 513564"/>
              <a:gd name="connsiteY30" fmla="*/ 435886 h 435886"/>
              <a:gd name="connsiteX31" fmla="*/ 0 w 513564"/>
              <a:gd name="connsiteY31" fmla="*/ 353014 h 435886"/>
              <a:gd name="connsiteX32" fmla="*/ 0 w 513564"/>
              <a:gd name="connsiteY32" fmla="*/ 82634 h 435886"/>
              <a:gd name="connsiteX33" fmla="*/ 82903 w 513564"/>
              <a:gd name="connsiteY33" fmla="*/ 0 h 43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3564" h="435886">
                <a:moveTo>
                  <a:pt x="313447" y="15172"/>
                </a:moveTo>
                <a:cubicBezTo>
                  <a:pt x="317720" y="16130"/>
                  <a:pt x="321708" y="18368"/>
                  <a:pt x="324804" y="21748"/>
                </a:cubicBezTo>
                <a:lnTo>
                  <a:pt x="505231" y="201533"/>
                </a:lnTo>
                <a:lnTo>
                  <a:pt x="506136" y="201200"/>
                </a:lnTo>
                <a:cubicBezTo>
                  <a:pt x="516040" y="209818"/>
                  <a:pt x="516040" y="225196"/>
                  <a:pt x="506136" y="233814"/>
                </a:cubicBezTo>
                <a:lnTo>
                  <a:pt x="325756" y="413599"/>
                </a:lnTo>
                <a:cubicBezTo>
                  <a:pt x="319709" y="420408"/>
                  <a:pt x="310090" y="422693"/>
                  <a:pt x="301661" y="419408"/>
                </a:cubicBezTo>
                <a:cubicBezTo>
                  <a:pt x="292709" y="416075"/>
                  <a:pt x="287042" y="407267"/>
                  <a:pt x="287661" y="397744"/>
                </a:cubicBezTo>
                <a:lnTo>
                  <a:pt x="287661" y="301757"/>
                </a:lnTo>
                <a:lnTo>
                  <a:pt x="159948" y="301757"/>
                </a:lnTo>
                <a:cubicBezTo>
                  <a:pt x="148853" y="302614"/>
                  <a:pt x="138900" y="294996"/>
                  <a:pt x="136805" y="284093"/>
                </a:cubicBezTo>
                <a:cubicBezTo>
                  <a:pt x="136615" y="282284"/>
                  <a:pt x="136615" y="280427"/>
                  <a:pt x="136805" y="278618"/>
                </a:cubicBezTo>
                <a:lnTo>
                  <a:pt x="136805" y="158539"/>
                </a:lnTo>
                <a:cubicBezTo>
                  <a:pt x="135805" y="145398"/>
                  <a:pt x="146758" y="134447"/>
                  <a:pt x="159948" y="135399"/>
                </a:cubicBezTo>
                <a:lnTo>
                  <a:pt x="286709" y="135399"/>
                </a:lnTo>
                <a:lnTo>
                  <a:pt x="286709" y="37270"/>
                </a:lnTo>
                <a:cubicBezTo>
                  <a:pt x="286423" y="28128"/>
                  <a:pt x="291899" y="19749"/>
                  <a:pt x="300375" y="16273"/>
                </a:cubicBezTo>
                <a:cubicBezTo>
                  <a:pt x="304613" y="14535"/>
                  <a:pt x="309173" y="14214"/>
                  <a:pt x="313447" y="15172"/>
                </a:cubicBezTo>
                <a:close/>
                <a:moveTo>
                  <a:pt x="82903" y="0"/>
                </a:moveTo>
                <a:lnTo>
                  <a:pt x="208757" y="0"/>
                </a:lnTo>
                <a:cubicBezTo>
                  <a:pt x="217185" y="0"/>
                  <a:pt x="223994" y="6858"/>
                  <a:pt x="223994" y="15241"/>
                </a:cubicBezTo>
                <a:cubicBezTo>
                  <a:pt x="223994" y="23671"/>
                  <a:pt x="217185" y="30482"/>
                  <a:pt x="208757" y="30482"/>
                </a:cubicBezTo>
                <a:lnTo>
                  <a:pt x="82903" y="30482"/>
                </a:lnTo>
                <a:cubicBezTo>
                  <a:pt x="54046" y="30482"/>
                  <a:pt x="30666" y="53771"/>
                  <a:pt x="30476" y="82634"/>
                </a:cubicBezTo>
                <a:lnTo>
                  <a:pt x="30476" y="353300"/>
                </a:lnTo>
                <a:cubicBezTo>
                  <a:pt x="30476" y="382258"/>
                  <a:pt x="53951" y="405738"/>
                  <a:pt x="82903" y="405738"/>
                </a:cubicBezTo>
                <a:lnTo>
                  <a:pt x="208757" y="405738"/>
                </a:lnTo>
                <a:lnTo>
                  <a:pt x="208757" y="405405"/>
                </a:lnTo>
                <a:cubicBezTo>
                  <a:pt x="217185" y="405405"/>
                  <a:pt x="223994" y="412263"/>
                  <a:pt x="223994" y="420645"/>
                </a:cubicBezTo>
                <a:cubicBezTo>
                  <a:pt x="223994" y="429075"/>
                  <a:pt x="217185" y="435886"/>
                  <a:pt x="208757" y="435886"/>
                </a:cubicBezTo>
                <a:lnTo>
                  <a:pt x="82903" y="435886"/>
                </a:lnTo>
                <a:cubicBezTo>
                  <a:pt x="37094" y="435886"/>
                  <a:pt x="0" y="398784"/>
                  <a:pt x="0" y="353014"/>
                </a:cubicBezTo>
                <a:lnTo>
                  <a:pt x="0" y="82634"/>
                </a:lnTo>
                <a:cubicBezTo>
                  <a:pt x="191" y="36959"/>
                  <a:pt x="37237" y="0"/>
                  <a:pt x="82903" y="0"/>
                </a:cubicBezTo>
                <a:close/>
              </a:path>
            </a:pathLst>
          </a:custGeom>
          <a:solidFill>
            <a:srgbClr val="29A9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79" name="文本框 78"/>
          <p:cNvSpPr txBox="1"/>
          <p:nvPr/>
        </p:nvSpPr>
        <p:spPr>
          <a:xfrm>
            <a:off x="610127" y="6437684"/>
            <a:ext cx="6215062" cy="261610"/>
          </a:xfrm>
          <a:prstGeom prst="rect">
            <a:avLst/>
          </a:prstGeom>
          <a:noFill/>
        </p:spPr>
        <p:txBody>
          <a:bodyPr wrap="square">
            <a:spAutoFit/>
          </a:bodyPr>
          <a:lstStyle>
            <a:defPPr>
              <a:defRPr lang="zh-CN"/>
            </a:defPPr>
            <a:lvl1pPr marR="0" lvl="0" indent="0" fontAlgn="auto">
              <a:lnSpc>
                <a:spcPct val="100000"/>
              </a:lnSpc>
              <a:spcBef>
                <a:spcPts val="0"/>
              </a:spcBef>
              <a:spcAft>
                <a:spcPts val="0"/>
              </a:spcAft>
              <a:buClrTx/>
              <a:buSzTx/>
              <a:buFontTx/>
              <a:buNone/>
              <a:defRPr sz="1200" b="0" i="0">
                <a:solidFill>
                  <a:srgbClr val="212121"/>
                </a:solidFill>
                <a:effectLst/>
                <a:latin typeface="BlinkMacSystemFont"/>
              </a:defRPr>
            </a:lvl1pPr>
          </a:lstStyle>
          <a:p>
            <a:r>
              <a:rPr lang="en-US" altLang="zh-CN" sz="1050" dirty="0">
                <a:latin typeface="+mn-ea"/>
              </a:rPr>
              <a:t>Huber RM, et al. </a:t>
            </a:r>
            <a:r>
              <a:rPr lang="en-US" altLang="zh-CN" sz="1050" dirty="0" err="1">
                <a:latin typeface="+mn-ea"/>
              </a:rPr>
              <a:t>Eur</a:t>
            </a:r>
            <a:r>
              <a:rPr lang="en-US" altLang="zh-CN" sz="1050" dirty="0">
                <a:latin typeface="+mn-ea"/>
              </a:rPr>
              <a:t> Respir Rev. 2019 Jul 8;28(152):190024.  PMID: 31285288.</a:t>
            </a:r>
            <a:endParaRPr lang="en-US" altLang="zh-CN" sz="1050" dirty="0">
              <a:latin typeface="+mn-ea"/>
            </a:endParaRPr>
          </a:p>
        </p:txBody>
      </p:sp>
      <p:cxnSp>
        <p:nvCxnSpPr>
          <p:cNvPr id="71" name="直接箭头连接符 70"/>
          <p:cNvCxnSpPr/>
          <p:nvPr/>
        </p:nvCxnSpPr>
        <p:spPr>
          <a:xfrm>
            <a:off x="3703243" y="4098301"/>
            <a:ext cx="0" cy="93600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2" name="直接箭头连接符 71"/>
          <p:cNvCxnSpPr/>
          <p:nvPr/>
        </p:nvCxnSpPr>
        <p:spPr>
          <a:xfrm>
            <a:off x="7058486" y="4110176"/>
            <a:ext cx="0" cy="936000"/>
          </a:xfrm>
          <a:prstGeom prst="straightConnector1">
            <a:avLst/>
          </a:prstGeom>
          <a:ln w="28575">
            <a:solidFill>
              <a:srgbClr val="08A2BE"/>
            </a:solidFill>
            <a:tailEnd type="triangle"/>
          </a:ln>
        </p:spPr>
        <p:style>
          <a:lnRef idx="1">
            <a:schemeClr val="accent1"/>
          </a:lnRef>
          <a:fillRef idx="0">
            <a:schemeClr val="accent1"/>
          </a:fillRef>
          <a:effectRef idx="0">
            <a:schemeClr val="accent1"/>
          </a:effectRef>
          <a:fontRef idx="minor">
            <a:schemeClr val="tx1"/>
          </a:fontRef>
        </p:style>
      </p:cxnSp>
      <p:sp>
        <p:nvSpPr>
          <p:cNvPr id="76" name="ísľíḋê"/>
          <p:cNvSpPr/>
          <p:nvPr/>
        </p:nvSpPr>
        <p:spPr bwMode="auto">
          <a:xfrm rot="5400000">
            <a:off x="7820707" y="4661218"/>
            <a:ext cx="387136" cy="360000"/>
          </a:xfrm>
          <a:custGeom>
            <a:avLst/>
            <a:gdLst>
              <a:gd name="T0" fmla="*/ 362 w 362"/>
              <a:gd name="T1" fmla="*/ 440 h 440"/>
              <a:gd name="T2" fmla="*/ 105 w 362"/>
              <a:gd name="T3" fmla="*/ 440 h 440"/>
              <a:gd name="T4" fmla="*/ 0 w 362"/>
              <a:gd name="T5" fmla="*/ 336 h 440"/>
              <a:gd name="T6" fmla="*/ 0 w 362"/>
              <a:gd name="T7" fmla="*/ 0 h 440"/>
            </a:gdLst>
            <a:ahLst/>
            <a:cxnLst>
              <a:cxn ang="0">
                <a:pos x="T0" y="T1"/>
              </a:cxn>
              <a:cxn ang="0">
                <a:pos x="T2" y="T3"/>
              </a:cxn>
              <a:cxn ang="0">
                <a:pos x="T4" y="T5"/>
              </a:cxn>
              <a:cxn ang="0">
                <a:pos x="T6" y="T7"/>
              </a:cxn>
            </a:cxnLst>
            <a:rect l="0" t="0" r="r" b="b"/>
            <a:pathLst>
              <a:path w="362" h="440">
                <a:moveTo>
                  <a:pt x="362" y="440"/>
                </a:moveTo>
                <a:cubicBezTo>
                  <a:pt x="105" y="440"/>
                  <a:pt x="105" y="440"/>
                  <a:pt x="105" y="440"/>
                </a:cubicBezTo>
                <a:cubicBezTo>
                  <a:pt x="47" y="440"/>
                  <a:pt x="0" y="393"/>
                  <a:pt x="0" y="336"/>
                </a:cubicBezTo>
                <a:cubicBezTo>
                  <a:pt x="0" y="0"/>
                  <a:pt x="0" y="0"/>
                  <a:pt x="0" y="0"/>
                </a:cubicBezTo>
              </a:path>
            </a:pathLst>
          </a:custGeom>
          <a:noFill/>
          <a:ln w="38100" cap="flat">
            <a:solidFill>
              <a:srgbClr val="29A9C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solidFill>
                <a:schemeClr val="tx1">
                  <a:lumMod val="65000"/>
                  <a:lumOff val="35000"/>
                </a:schemeClr>
              </a:solidFill>
              <a:latin typeface="+mn-ea"/>
            </a:endParaRPr>
          </a:p>
        </p:txBody>
      </p:sp>
      <p:sp>
        <p:nvSpPr>
          <p:cNvPr id="82" name="ísľíḋê"/>
          <p:cNvSpPr/>
          <p:nvPr/>
        </p:nvSpPr>
        <p:spPr bwMode="auto">
          <a:xfrm rot="5400000" flipH="1">
            <a:off x="7834248" y="5598873"/>
            <a:ext cx="387137" cy="360000"/>
          </a:xfrm>
          <a:custGeom>
            <a:avLst/>
            <a:gdLst>
              <a:gd name="T0" fmla="*/ 362 w 362"/>
              <a:gd name="T1" fmla="*/ 440 h 440"/>
              <a:gd name="T2" fmla="*/ 105 w 362"/>
              <a:gd name="T3" fmla="*/ 440 h 440"/>
              <a:gd name="T4" fmla="*/ 0 w 362"/>
              <a:gd name="T5" fmla="*/ 336 h 440"/>
              <a:gd name="T6" fmla="*/ 0 w 362"/>
              <a:gd name="T7" fmla="*/ 0 h 440"/>
            </a:gdLst>
            <a:ahLst/>
            <a:cxnLst>
              <a:cxn ang="0">
                <a:pos x="T0" y="T1"/>
              </a:cxn>
              <a:cxn ang="0">
                <a:pos x="T2" y="T3"/>
              </a:cxn>
              <a:cxn ang="0">
                <a:pos x="T4" y="T5"/>
              </a:cxn>
              <a:cxn ang="0">
                <a:pos x="T6" y="T7"/>
              </a:cxn>
            </a:cxnLst>
            <a:rect l="0" t="0" r="r" b="b"/>
            <a:pathLst>
              <a:path w="362" h="440">
                <a:moveTo>
                  <a:pt x="362" y="440"/>
                </a:moveTo>
                <a:cubicBezTo>
                  <a:pt x="105" y="440"/>
                  <a:pt x="105" y="440"/>
                  <a:pt x="105" y="440"/>
                </a:cubicBezTo>
                <a:cubicBezTo>
                  <a:pt x="47" y="440"/>
                  <a:pt x="0" y="393"/>
                  <a:pt x="0" y="336"/>
                </a:cubicBezTo>
                <a:cubicBezTo>
                  <a:pt x="0" y="0"/>
                  <a:pt x="0" y="0"/>
                  <a:pt x="0" y="0"/>
                </a:cubicBezTo>
              </a:path>
            </a:pathLst>
          </a:custGeom>
          <a:noFill/>
          <a:ln w="38100" cap="flat">
            <a:solidFill>
              <a:srgbClr val="29A9C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solidFill>
                <a:schemeClr val="tx1">
                  <a:lumMod val="65000"/>
                  <a:lumOff val="35000"/>
                </a:schemeClr>
              </a:solidFill>
              <a:latin typeface="+mn-ea"/>
            </a:endParaRPr>
          </a:p>
        </p:txBody>
      </p:sp>
      <p:sp>
        <p:nvSpPr>
          <p:cNvPr id="83" name="文本框 82"/>
          <p:cNvSpPr txBox="1"/>
          <p:nvPr/>
        </p:nvSpPr>
        <p:spPr>
          <a:xfrm>
            <a:off x="2618676" y="3764679"/>
            <a:ext cx="2197964" cy="417727"/>
          </a:xfrm>
          <a:prstGeom prst="roundRect">
            <a:avLst>
              <a:gd name="adj" fmla="val 50000"/>
            </a:avLst>
          </a:prstGeom>
          <a:solidFill>
            <a:srgbClr val="137BA6"/>
          </a:solidFill>
          <a:ln>
            <a:noFill/>
          </a:ln>
        </p:spPr>
        <p:txBody>
          <a:bodyPr wrap="none" rtlCol="0" anchor="ctr" anchorCtr="0">
            <a:noAutofit/>
          </a:bodyPr>
          <a:lstStyle/>
          <a:p>
            <a:pPr algn="ctr"/>
            <a:r>
              <a:rPr lang="zh-CN" altLang="en-US" b="1" dirty="0">
                <a:solidFill>
                  <a:schemeClr val="bg1"/>
                </a:solidFill>
                <a:latin typeface="+mn-ea"/>
              </a:rPr>
              <a:t>可切</a:t>
            </a:r>
            <a:endParaRPr lang="zh-CN" altLang="en-US" b="1" dirty="0">
              <a:solidFill>
                <a:schemeClr val="bg1"/>
              </a:solidFill>
              <a:latin typeface="+mn-ea"/>
            </a:endParaRPr>
          </a:p>
        </p:txBody>
      </p:sp>
      <p:sp>
        <p:nvSpPr>
          <p:cNvPr id="84" name="文本框 83"/>
          <p:cNvSpPr txBox="1"/>
          <p:nvPr/>
        </p:nvSpPr>
        <p:spPr>
          <a:xfrm>
            <a:off x="6009853" y="3764679"/>
            <a:ext cx="2197964" cy="417727"/>
          </a:xfrm>
          <a:prstGeom prst="roundRect">
            <a:avLst>
              <a:gd name="adj" fmla="val 50000"/>
            </a:avLst>
          </a:prstGeom>
          <a:solidFill>
            <a:srgbClr val="29A9C5"/>
          </a:solidFill>
          <a:ln>
            <a:noFill/>
          </a:ln>
        </p:spPr>
        <p:txBody>
          <a:bodyPr wrap="none" rtlCol="0" anchor="ctr" anchorCtr="0">
            <a:noAutofit/>
          </a:bodyPr>
          <a:lstStyle/>
          <a:p>
            <a:pPr algn="ctr"/>
            <a:r>
              <a:rPr lang="zh-CN" altLang="en-US" b="1" dirty="0">
                <a:solidFill>
                  <a:schemeClr val="bg1"/>
                </a:solidFill>
                <a:latin typeface="+mn-ea"/>
              </a:rPr>
              <a:t>不可切</a:t>
            </a:r>
            <a:endParaRPr lang="zh-CN" altLang="en-US" b="1" dirty="0">
              <a:solidFill>
                <a:schemeClr val="bg1"/>
              </a:solidFill>
              <a:latin typeface="+mn-ea"/>
            </a:endParaRPr>
          </a:p>
        </p:txBody>
      </p:sp>
      <p:sp>
        <p:nvSpPr>
          <p:cNvPr id="85" name="ísļïďè"/>
          <p:cNvSpPr/>
          <p:nvPr/>
        </p:nvSpPr>
        <p:spPr bwMode="auto">
          <a:xfrm>
            <a:off x="2618676" y="5054470"/>
            <a:ext cx="2197964" cy="511150"/>
          </a:xfrm>
          <a:prstGeom prst="roundRect">
            <a:avLst/>
          </a:prstGeom>
          <a:solidFill>
            <a:srgbClr val="137BA6"/>
          </a:solidFill>
          <a:ln>
            <a:noFill/>
          </a:ln>
        </p:spPr>
        <p:txBody>
          <a:bodyPr wrap="none" rtlCol="0" anchor="ctr" anchorCtr="0">
            <a:noAutofit/>
          </a:bodyPr>
          <a:lstStyle/>
          <a:p>
            <a:pPr algn="ctr"/>
            <a:r>
              <a:rPr lang="zh-CN" altLang="en-US" b="1">
                <a:solidFill>
                  <a:schemeClr val="bg1"/>
                </a:solidFill>
                <a:latin typeface="+mn-ea"/>
              </a:rPr>
              <a:t>手术</a:t>
            </a:r>
            <a:endParaRPr lang="en-US" altLang="zh-CN" b="1" dirty="0">
              <a:solidFill>
                <a:schemeClr val="bg1"/>
              </a:solidFill>
              <a:latin typeface="+mn-ea"/>
            </a:endParaRPr>
          </a:p>
        </p:txBody>
      </p:sp>
      <p:sp>
        <p:nvSpPr>
          <p:cNvPr id="86" name="ísļïďè"/>
          <p:cNvSpPr/>
          <p:nvPr/>
        </p:nvSpPr>
        <p:spPr bwMode="auto">
          <a:xfrm>
            <a:off x="5996311" y="5054470"/>
            <a:ext cx="2197964" cy="511150"/>
          </a:xfrm>
          <a:prstGeom prst="roundRect">
            <a:avLst/>
          </a:prstGeom>
          <a:solidFill>
            <a:srgbClr val="29A9C5"/>
          </a:solidFill>
          <a:ln>
            <a:noFill/>
          </a:ln>
        </p:spPr>
        <p:txBody>
          <a:bodyPr wrap="none" rtlCol="0" anchor="ctr" anchorCtr="0">
            <a:noAutofit/>
          </a:bodyPr>
          <a:lstStyle/>
          <a:p>
            <a:pPr algn="ctr"/>
            <a:r>
              <a:rPr lang="zh-CN" altLang="en-US" b="1" dirty="0">
                <a:solidFill>
                  <a:schemeClr val="bg1"/>
                </a:solidFill>
                <a:latin typeface="+mn-ea"/>
              </a:rPr>
              <a:t>放化疗</a:t>
            </a:r>
            <a:endParaRPr lang="en-US" altLang="zh-CN" b="1" dirty="0">
              <a:solidFill>
                <a:schemeClr val="bg1"/>
              </a:solidFill>
              <a:latin typeface="+mn-ea"/>
            </a:endParaRPr>
          </a:p>
        </p:txBody>
      </p:sp>
      <p:sp>
        <p:nvSpPr>
          <p:cNvPr id="87" name="文本框 86"/>
          <p:cNvSpPr txBox="1"/>
          <p:nvPr/>
        </p:nvSpPr>
        <p:spPr>
          <a:xfrm>
            <a:off x="4465391" y="2357261"/>
            <a:ext cx="2197964" cy="417727"/>
          </a:xfrm>
          <a:prstGeom prst="roundRect">
            <a:avLst>
              <a:gd name="adj" fmla="val 50000"/>
            </a:avLst>
          </a:prstGeom>
          <a:solidFill>
            <a:srgbClr val="163F6F"/>
          </a:solidFill>
          <a:ln>
            <a:noFill/>
          </a:ln>
        </p:spPr>
        <p:txBody>
          <a:bodyPr wrap="none" rtlCol="0" anchor="ctr" anchorCtr="0">
            <a:noAutofit/>
          </a:bodyPr>
          <a:lstStyle/>
          <a:p>
            <a:pPr algn="ctr"/>
            <a:r>
              <a:rPr lang="en-US" altLang="zh-CN" b="1" dirty="0">
                <a:solidFill>
                  <a:schemeClr val="bg1"/>
                </a:solidFill>
                <a:latin typeface="+mn-ea"/>
              </a:rPr>
              <a:t>III</a:t>
            </a:r>
            <a:r>
              <a:rPr lang="zh-CN" altLang="en-US" b="1" dirty="0">
                <a:solidFill>
                  <a:schemeClr val="bg1"/>
                </a:solidFill>
                <a:latin typeface="+mn-ea"/>
              </a:rPr>
              <a:t>期</a:t>
            </a:r>
            <a:r>
              <a:rPr lang="en-US" altLang="zh-CN" b="1" dirty="0">
                <a:solidFill>
                  <a:schemeClr val="bg1"/>
                </a:solidFill>
                <a:latin typeface="+mn-ea"/>
              </a:rPr>
              <a:t>NSCLC</a:t>
            </a:r>
            <a:endParaRPr lang="en-US" altLang="zh-CN" b="1" dirty="0">
              <a:solidFill>
                <a:schemeClr val="bg1"/>
              </a:solidFill>
              <a:latin typeface="+mn-ea"/>
            </a:endParaRPr>
          </a:p>
        </p:txBody>
      </p:sp>
      <p:sp>
        <p:nvSpPr>
          <p:cNvPr id="88" name="ísļïďè"/>
          <p:cNvSpPr/>
          <p:nvPr/>
        </p:nvSpPr>
        <p:spPr bwMode="auto">
          <a:xfrm>
            <a:off x="1853513" y="2930311"/>
            <a:ext cx="6935390" cy="619896"/>
          </a:xfrm>
          <a:prstGeom prst="roundRect">
            <a:avLst/>
          </a:prstGeom>
          <a:solidFill>
            <a:srgbClr val="163F6F"/>
          </a:solidFill>
          <a:ln>
            <a:noFill/>
          </a:ln>
        </p:spPr>
        <p:txBody>
          <a:bodyPr wrap="none" rtlCol="0" anchor="ctr" anchorCtr="0">
            <a:noAutofit/>
          </a:bodyPr>
          <a:lstStyle/>
          <a:p>
            <a:pPr algn="ctr"/>
            <a:r>
              <a:rPr lang="zh-CN" altLang="en-US" sz="1600" b="1" dirty="0">
                <a:solidFill>
                  <a:schemeClr val="bg1"/>
                </a:solidFill>
                <a:latin typeface="+mn-ea"/>
              </a:rPr>
              <a:t>多学科肿瘤委员会：个体患者和肿瘤的确切情况（功能评估、</a:t>
            </a:r>
            <a:r>
              <a:rPr lang="en-US" altLang="zh-CN" sz="1600" b="1" dirty="0">
                <a:solidFill>
                  <a:schemeClr val="bg1"/>
                </a:solidFill>
                <a:latin typeface="+mn-ea"/>
              </a:rPr>
              <a:t>PET-CT</a:t>
            </a:r>
            <a:r>
              <a:rPr lang="zh-CN" altLang="en-US" sz="1600" b="1" dirty="0">
                <a:solidFill>
                  <a:schemeClr val="bg1"/>
                </a:solidFill>
                <a:latin typeface="+mn-ea"/>
              </a:rPr>
              <a:t>、</a:t>
            </a:r>
            <a:endParaRPr lang="en-US" altLang="zh-CN" sz="1600" b="1" dirty="0">
              <a:solidFill>
                <a:schemeClr val="bg1"/>
              </a:solidFill>
              <a:latin typeface="+mn-ea"/>
            </a:endParaRPr>
          </a:p>
          <a:p>
            <a:pPr algn="ctr"/>
            <a:r>
              <a:rPr lang="en-US" altLang="zh-CN" sz="1600" b="1" dirty="0">
                <a:solidFill>
                  <a:schemeClr val="bg1"/>
                </a:solidFill>
                <a:latin typeface="+mn-ea"/>
              </a:rPr>
              <a:t>EBUS</a:t>
            </a:r>
            <a:r>
              <a:rPr lang="zh-CN" altLang="en-US" sz="1600" b="1" dirty="0">
                <a:solidFill>
                  <a:schemeClr val="bg1"/>
                </a:solidFill>
                <a:latin typeface="+mn-ea"/>
              </a:rPr>
              <a:t>和</a:t>
            </a:r>
            <a:r>
              <a:rPr lang="en-US" altLang="zh-CN" sz="1600" b="1" dirty="0">
                <a:solidFill>
                  <a:schemeClr val="bg1"/>
                </a:solidFill>
                <a:latin typeface="+mn-ea"/>
              </a:rPr>
              <a:t>/</a:t>
            </a:r>
            <a:r>
              <a:rPr lang="zh-CN" altLang="en-US" sz="1600" b="1" dirty="0">
                <a:solidFill>
                  <a:schemeClr val="bg1"/>
                </a:solidFill>
                <a:latin typeface="+mn-ea"/>
              </a:rPr>
              <a:t>或纵隔镜检查、肿瘤可切除性评估）</a:t>
            </a:r>
            <a:endParaRPr lang="zh-CN" altLang="en-US" sz="1600" b="1" dirty="0">
              <a:solidFill>
                <a:schemeClr val="bg1"/>
              </a:solidFill>
              <a:latin typeface="+mn-ea"/>
            </a:endParaRPr>
          </a:p>
        </p:txBody>
      </p:sp>
      <p:grpSp>
        <p:nvGrpSpPr>
          <p:cNvPr id="89" name="ïşľîḑé"/>
          <p:cNvGrpSpPr/>
          <p:nvPr/>
        </p:nvGrpSpPr>
        <p:grpSpPr>
          <a:xfrm>
            <a:off x="8272736" y="5682343"/>
            <a:ext cx="432000" cy="432000"/>
            <a:chOff x="3355740" y="3826624"/>
            <a:chExt cx="609600" cy="609600"/>
          </a:xfrm>
        </p:grpSpPr>
        <p:sp>
          <p:nvSpPr>
            <p:cNvPr id="90" name="ïṧḷïďé"/>
            <p:cNvSpPr/>
            <p:nvPr/>
          </p:nvSpPr>
          <p:spPr bwMode="auto">
            <a:xfrm>
              <a:off x="3355740" y="3826624"/>
              <a:ext cx="609600" cy="609600"/>
            </a:xfrm>
            <a:prstGeom prst="ellipse">
              <a:avLst/>
            </a:prstGeom>
            <a:solidFill>
              <a:srgbClr val="29A9C5"/>
            </a:solidFill>
            <a:ln w="19050">
              <a:noFill/>
              <a:round/>
            </a:ln>
          </p:spPr>
          <p:txBody>
            <a:bodyPr anchor="ctr"/>
            <a:lstStyle/>
            <a:p>
              <a:pPr algn="ctr"/>
              <a:endParaRPr>
                <a:latin typeface="+mn-ea"/>
              </a:endParaRPr>
            </a:p>
          </p:txBody>
        </p:sp>
        <p:grpSp>
          <p:nvGrpSpPr>
            <p:cNvPr id="91" name="íSlîḋé"/>
            <p:cNvGrpSpPr/>
            <p:nvPr/>
          </p:nvGrpSpPr>
          <p:grpSpPr>
            <a:xfrm>
              <a:off x="3466682" y="3936151"/>
              <a:ext cx="387716" cy="390546"/>
              <a:chOff x="1905000" y="3457575"/>
              <a:chExt cx="217488" cy="219075"/>
            </a:xfrm>
            <a:solidFill>
              <a:schemeClr val="bg1"/>
            </a:solidFill>
          </p:grpSpPr>
          <p:sp>
            <p:nvSpPr>
              <p:cNvPr id="92" name="iśḻîḑê"/>
              <p:cNvSpPr/>
              <p:nvPr/>
            </p:nvSpPr>
            <p:spPr bwMode="auto">
              <a:xfrm>
                <a:off x="1905000" y="3457575"/>
                <a:ext cx="217488" cy="219075"/>
              </a:xfrm>
              <a:custGeom>
                <a:avLst/>
                <a:gdLst/>
                <a:ahLst/>
                <a:cxnLst>
                  <a:cxn ang="0">
                    <a:pos x="76" y="9"/>
                  </a:cxn>
                  <a:cxn ang="0">
                    <a:pos x="53" y="0"/>
                  </a:cxn>
                  <a:cxn ang="0">
                    <a:pos x="30" y="9"/>
                  </a:cxn>
                  <a:cxn ang="0">
                    <a:pos x="21" y="32"/>
                  </a:cxn>
                  <a:cxn ang="0">
                    <a:pos x="25" y="48"/>
                  </a:cxn>
                  <a:cxn ang="0">
                    <a:pos x="1" y="73"/>
                  </a:cxn>
                  <a:cxn ang="0">
                    <a:pos x="0" y="75"/>
                  </a:cxn>
                  <a:cxn ang="0">
                    <a:pos x="1" y="77"/>
                  </a:cxn>
                  <a:cxn ang="0">
                    <a:pos x="8" y="85"/>
                  </a:cxn>
                  <a:cxn ang="0">
                    <a:pos x="10" y="85"/>
                  </a:cxn>
                  <a:cxn ang="0">
                    <a:pos x="12" y="85"/>
                  </a:cxn>
                  <a:cxn ang="0">
                    <a:pos x="37" y="60"/>
                  </a:cxn>
                  <a:cxn ang="0">
                    <a:pos x="53" y="64"/>
                  </a:cxn>
                  <a:cxn ang="0">
                    <a:pos x="76" y="55"/>
                  </a:cxn>
                  <a:cxn ang="0">
                    <a:pos x="85" y="32"/>
                  </a:cxn>
                  <a:cxn ang="0">
                    <a:pos x="76" y="9"/>
                  </a:cxn>
                  <a:cxn ang="0">
                    <a:pos x="10" y="79"/>
                  </a:cxn>
                  <a:cxn ang="0">
                    <a:pos x="6" y="75"/>
                  </a:cxn>
                  <a:cxn ang="0">
                    <a:pos x="28" y="53"/>
                  </a:cxn>
                  <a:cxn ang="0">
                    <a:pos x="30" y="55"/>
                  </a:cxn>
                  <a:cxn ang="0">
                    <a:pos x="32" y="57"/>
                  </a:cxn>
                  <a:cxn ang="0">
                    <a:pos x="10" y="79"/>
                  </a:cxn>
                  <a:cxn ang="0">
                    <a:pos x="72" y="51"/>
                  </a:cxn>
                  <a:cxn ang="0">
                    <a:pos x="53" y="59"/>
                  </a:cxn>
                  <a:cxn ang="0">
                    <a:pos x="34" y="51"/>
                  </a:cxn>
                  <a:cxn ang="0">
                    <a:pos x="26" y="32"/>
                  </a:cxn>
                  <a:cxn ang="0">
                    <a:pos x="34" y="13"/>
                  </a:cxn>
                  <a:cxn ang="0">
                    <a:pos x="53" y="5"/>
                  </a:cxn>
                  <a:cxn ang="0">
                    <a:pos x="72" y="13"/>
                  </a:cxn>
                  <a:cxn ang="0">
                    <a:pos x="80" y="32"/>
                  </a:cxn>
                  <a:cxn ang="0">
                    <a:pos x="72" y="51"/>
                  </a:cxn>
                </a:cxnLst>
                <a:rect l="0" t="0" r="r" b="b"/>
                <a:pathLst>
                  <a:path w="85" h="85">
                    <a:moveTo>
                      <a:pt x="76" y="9"/>
                    </a:moveTo>
                    <a:cubicBezTo>
                      <a:pt x="70" y="3"/>
                      <a:pt x="62" y="0"/>
                      <a:pt x="53" y="0"/>
                    </a:cubicBezTo>
                    <a:cubicBezTo>
                      <a:pt x="44" y="0"/>
                      <a:pt x="36" y="3"/>
                      <a:pt x="30" y="9"/>
                    </a:cubicBezTo>
                    <a:cubicBezTo>
                      <a:pt x="24" y="15"/>
                      <a:pt x="21" y="23"/>
                      <a:pt x="21" y="32"/>
                    </a:cubicBezTo>
                    <a:cubicBezTo>
                      <a:pt x="21" y="38"/>
                      <a:pt x="22" y="43"/>
                      <a:pt x="25" y="48"/>
                    </a:cubicBezTo>
                    <a:cubicBezTo>
                      <a:pt x="1" y="73"/>
                      <a:pt x="1" y="73"/>
                      <a:pt x="1" y="73"/>
                    </a:cubicBezTo>
                    <a:cubicBezTo>
                      <a:pt x="0" y="74"/>
                      <a:pt x="0" y="74"/>
                      <a:pt x="0" y="75"/>
                    </a:cubicBezTo>
                    <a:cubicBezTo>
                      <a:pt x="0" y="76"/>
                      <a:pt x="0" y="76"/>
                      <a:pt x="1" y="77"/>
                    </a:cubicBezTo>
                    <a:cubicBezTo>
                      <a:pt x="8" y="85"/>
                      <a:pt x="8" y="85"/>
                      <a:pt x="8" y="85"/>
                    </a:cubicBezTo>
                    <a:cubicBezTo>
                      <a:pt x="9" y="85"/>
                      <a:pt x="9" y="85"/>
                      <a:pt x="10" y="85"/>
                    </a:cubicBezTo>
                    <a:cubicBezTo>
                      <a:pt x="11" y="85"/>
                      <a:pt x="12" y="85"/>
                      <a:pt x="12" y="85"/>
                    </a:cubicBezTo>
                    <a:cubicBezTo>
                      <a:pt x="37" y="60"/>
                      <a:pt x="37" y="60"/>
                      <a:pt x="37" y="60"/>
                    </a:cubicBezTo>
                    <a:cubicBezTo>
                      <a:pt x="42" y="63"/>
                      <a:pt x="47" y="64"/>
                      <a:pt x="53" y="64"/>
                    </a:cubicBezTo>
                    <a:cubicBezTo>
                      <a:pt x="62" y="64"/>
                      <a:pt x="70" y="61"/>
                      <a:pt x="76" y="55"/>
                    </a:cubicBezTo>
                    <a:cubicBezTo>
                      <a:pt x="82" y="49"/>
                      <a:pt x="85" y="41"/>
                      <a:pt x="85" y="32"/>
                    </a:cubicBezTo>
                    <a:cubicBezTo>
                      <a:pt x="85" y="23"/>
                      <a:pt x="82" y="15"/>
                      <a:pt x="76" y="9"/>
                    </a:cubicBezTo>
                    <a:close/>
                    <a:moveTo>
                      <a:pt x="10" y="79"/>
                    </a:moveTo>
                    <a:cubicBezTo>
                      <a:pt x="6" y="75"/>
                      <a:pt x="6" y="75"/>
                      <a:pt x="6" y="75"/>
                    </a:cubicBezTo>
                    <a:cubicBezTo>
                      <a:pt x="28" y="53"/>
                      <a:pt x="28" y="53"/>
                      <a:pt x="28" y="53"/>
                    </a:cubicBezTo>
                    <a:cubicBezTo>
                      <a:pt x="29" y="53"/>
                      <a:pt x="30" y="54"/>
                      <a:pt x="30" y="55"/>
                    </a:cubicBezTo>
                    <a:cubicBezTo>
                      <a:pt x="31" y="56"/>
                      <a:pt x="32" y="56"/>
                      <a:pt x="32" y="57"/>
                    </a:cubicBezTo>
                    <a:lnTo>
                      <a:pt x="10" y="79"/>
                    </a:lnTo>
                    <a:close/>
                    <a:moveTo>
                      <a:pt x="72" y="51"/>
                    </a:moveTo>
                    <a:cubicBezTo>
                      <a:pt x="67" y="56"/>
                      <a:pt x="60" y="59"/>
                      <a:pt x="53" y="59"/>
                    </a:cubicBezTo>
                    <a:cubicBezTo>
                      <a:pt x="46" y="59"/>
                      <a:pt x="39" y="56"/>
                      <a:pt x="34" y="51"/>
                    </a:cubicBezTo>
                    <a:cubicBezTo>
                      <a:pt x="29" y="46"/>
                      <a:pt x="26" y="39"/>
                      <a:pt x="26" y="32"/>
                    </a:cubicBezTo>
                    <a:cubicBezTo>
                      <a:pt x="26" y="25"/>
                      <a:pt x="29" y="18"/>
                      <a:pt x="34" y="13"/>
                    </a:cubicBezTo>
                    <a:cubicBezTo>
                      <a:pt x="39" y="8"/>
                      <a:pt x="46" y="5"/>
                      <a:pt x="53" y="5"/>
                    </a:cubicBezTo>
                    <a:cubicBezTo>
                      <a:pt x="60" y="5"/>
                      <a:pt x="67" y="8"/>
                      <a:pt x="72" y="13"/>
                    </a:cubicBezTo>
                    <a:cubicBezTo>
                      <a:pt x="77" y="18"/>
                      <a:pt x="80" y="25"/>
                      <a:pt x="80" y="32"/>
                    </a:cubicBezTo>
                    <a:cubicBezTo>
                      <a:pt x="80" y="39"/>
                      <a:pt x="77" y="46"/>
                      <a:pt x="72" y="51"/>
                    </a:cubicBezTo>
                    <a:close/>
                  </a:path>
                </a:pathLst>
              </a:custGeom>
              <a:grpFill/>
              <a:ln w="9525">
                <a:noFill/>
                <a:round/>
              </a:ln>
            </p:spPr>
            <p:txBody>
              <a:bodyPr anchor="ctr"/>
              <a:lstStyle/>
              <a:p>
                <a:pPr algn="ctr"/>
                <a:endParaRPr>
                  <a:latin typeface="+mn-ea"/>
                </a:endParaRPr>
              </a:p>
            </p:txBody>
          </p:sp>
          <p:sp>
            <p:nvSpPr>
              <p:cNvPr id="93" name="ïŝľiḑè"/>
              <p:cNvSpPr/>
              <p:nvPr/>
            </p:nvSpPr>
            <p:spPr bwMode="auto">
              <a:xfrm>
                <a:off x="1992313" y="3548063"/>
                <a:ext cx="107950" cy="50800"/>
              </a:xfrm>
              <a:custGeom>
                <a:avLst/>
                <a:gdLst/>
                <a:ahLst/>
                <a:cxnLst>
                  <a:cxn ang="0">
                    <a:pos x="40" y="0"/>
                  </a:cxn>
                  <a:cxn ang="0">
                    <a:pos x="38" y="2"/>
                  </a:cxn>
                  <a:cxn ang="0">
                    <a:pos x="33" y="11"/>
                  </a:cxn>
                  <a:cxn ang="0">
                    <a:pos x="19" y="17"/>
                  </a:cxn>
                  <a:cxn ang="0">
                    <a:pos x="5" y="11"/>
                  </a:cxn>
                  <a:cxn ang="0">
                    <a:pos x="3" y="9"/>
                  </a:cxn>
                  <a:cxn ang="0">
                    <a:pos x="1" y="8"/>
                  </a:cxn>
                  <a:cxn ang="0">
                    <a:pos x="1" y="11"/>
                  </a:cxn>
                  <a:cxn ang="0">
                    <a:pos x="3" y="13"/>
                  </a:cxn>
                  <a:cxn ang="0">
                    <a:pos x="19" y="20"/>
                  </a:cxn>
                  <a:cxn ang="0">
                    <a:pos x="35" y="13"/>
                  </a:cxn>
                  <a:cxn ang="0">
                    <a:pos x="42" y="2"/>
                  </a:cxn>
                  <a:cxn ang="0">
                    <a:pos x="40" y="0"/>
                  </a:cxn>
                </a:cxnLst>
                <a:rect l="0" t="0" r="r" b="b"/>
                <a:pathLst>
                  <a:path w="42" h="20">
                    <a:moveTo>
                      <a:pt x="40" y="0"/>
                    </a:moveTo>
                    <a:cubicBezTo>
                      <a:pt x="39" y="0"/>
                      <a:pt x="38" y="1"/>
                      <a:pt x="38" y="2"/>
                    </a:cubicBezTo>
                    <a:cubicBezTo>
                      <a:pt x="37" y="5"/>
                      <a:pt x="35" y="8"/>
                      <a:pt x="33" y="11"/>
                    </a:cubicBezTo>
                    <a:cubicBezTo>
                      <a:pt x="29" y="15"/>
                      <a:pt x="24" y="17"/>
                      <a:pt x="19" y="17"/>
                    </a:cubicBezTo>
                    <a:cubicBezTo>
                      <a:pt x="14" y="17"/>
                      <a:pt x="9" y="15"/>
                      <a:pt x="5" y="11"/>
                    </a:cubicBezTo>
                    <a:cubicBezTo>
                      <a:pt x="5" y="10"/>
                      <a:pt x="4" y="9"/>
                      <a:pt x="3" y="9"/>
                    </a:cubicBezTo>
                    <a:cubicBezTo>
                      <a:pt x="3" y="8"/>
                      <a:pt x="2" y="8"/>
                      <a:pt x="1" y="8"/>
                    </a:cubicBezTo>
                    <a:cubicBezTo>
                      <a:pt x="0" y="9"/>
                      <a:pt x="0" y="10"/>
                      <a:pt x="1" y="11"/>
                    </a:cubicBezTo>
                    <a:cubicBezTo>
                      <a:pt x="1" y="12"/>
                      <a:pt x="2" y="13"/>
                      <a:pt x="3" y="13"/>
                    </a:cubicBezTo>
                    <a:cubicBezTo>
                      <a:pt x="7" y="18"/>
                      <a:pt x="13" y="20"/>
                      <a:pt x="19" y="20"/>
                    </a:cubicBezTo>
                    <a:cubicBezTo>
                      <a:pt x="25" y="20"/>
                      <a:pt x="31" y="18"/>
                      <a:pt x="35" y="13"/>
                    </a:cubicBezTo>
                    <a:cubicBezTo>
                      <a:pt x="38" y="10"/>
                      <a:pt x="41" y="7"/>
                      <a:pt x="42" y="2"/>
                    </a:cubicBezTo>
                    <a:cubicBezTo>
                      <a:pt x="42" y="1"/>
                      <a:pt x="41" y="0"/>
                      <a:pt x="40" y="0"/>
                    </a:cubicBezTo>
                    <a:close/>
                  </a:path>
                </a:pathLst>
              </a:custGeom>
              <a:grpFill/>
              <a:ln w="9525">
                <a:noFill/>
                <a:round/>
              </a:ln>
            </p:spPr>
            <p:txBody>
              <a:bodyPr anchor="ctr"/>
              <a:lstStyle/>
              <a:p>
                <a:pPr algn="ctr"/>
                <a:endParaRPr>
                  <a:latin typeface="+mn-ea"/>
                </a:endParaRPr>
              </a:p>
            </p:txBody>
          </p:sp>
          <p:sp>
            <p:nvSpPr>
              <p:cNvPr id="94" name="í$ļíḑe"/>
              <p:cNvSpPr/>
              <p:nvPr/>
            </p:nvSpPr>
            <p:spPr bwMode="auto">
              <a:xfrm>
                <a:off x="1976438" y="3481388"/>
                <a:ext cx="123825" cy="79375"/>
              </a:xfrm>
              <a:custGeom>
                <a:avLst/>
                <a:gdLst/>
                <a:ahLst/>
                <a:cxnLst>
                  <a:cxn ang="0">
                    <a:pos x="6" y="29"/>
                  </a:cxn>
                  <a:cxn ang="0">
                    <a:pos x="11" y="9"/>
                  </a:cxn>
                  <a:cxn ang="0">
                    <a:pos x="25" y="3"/>
                  </a:cxn>
                  <a:cxn ang="0">
                    <a:pos x="39" y="9"/>
                  </a:cxn>
                  <a:cxn ang="0">
                    <a:pos x="44" y="18"/>
                  </a:cxn>
                  <a:cxn ang="0">
                    <a:pos x="46" y="19"/>
                  </a:cxn>
                  <a:cxn ang="0">
                    <a:pos x="47" y="17"/>
                  </a:cxn>
                  <a:cxn ang="0">
                    <a:pos x="41" y="7"/>
                  </a:cxn>
                  <a:cxn ang="0">
                    <a:pos x="25" y="0"/>
                  </a:cxn>
                  <a:cxn ang="0">
                    <a:pos x="9" y="7"/>
                  </a:cxn>
                  <a:cxn ang="0">
                    <a:pos x="3" y="30"/>
                  </a:cxn>
                  <a:cxn ang="0">
                    <a:pos x="5" y="31"/>
                  </a:cxn>
                  <a:cxn ang="0">
                    <a:pos x="5" y="31"/>
                  </a:cxn>
                  <a:cxn ang="0">
                    <a:pos x="6" y="29"/>
                  </a:cxn>
                </a:cxnLst>
                <a:rect l="0" t="0" r="r" b="b"/>
                <a:pathLst>
                  <a:path w="48" h="31">
                    <a:moveTo>
                      <a:pt x="6" y="29"/>
                    </a:moveTo>
                    <a:cubicBezTo>
                      <a:pt x="4" y="22"/>
                      <a:pt x="6" y="14"/>
                      <a:pt x="11" y="9"/>
                    </a:cubicBezTo>
                    <a:cubicBezTo>
                      <a:pt x="15" y="6"/>
                      <a:pt x="20" y="3"/>
                      <a:pt x="25" y="3"/>
                    </a:cubicBezTo>
                    <a:cubicBezTo>
                      <a:pt x="30" y="3"/>
                      <a:pt x="35" y="6"/>
                      <a:pt x="39" y="9"/>
                    </a:cubicBezTo>
                    <a:cubicBezTo>
                      <a:pt x="41" y="12"/>
                      <a:pt x="43" y="15"/>
                      <a:pt x="44" y="18"/>
                    </a:cubicBezTo>
                    <a:cubicBezTo>
                      <a:pt x="44" y="19"/>
                      <a:pt x="45" y="20"/>
                      <a:pt x="46" y="19"/>
                    </a:cubicBezTo>
                    <a:cubicBezTo>
                      <a:pt x="47" y="19"/>
                      <a:pt x="48" y="18"/>
                      <a:pt x="47" y="17"/>
                    </a:cubicBezTo>
                    <a:cubicBezTo>
                      <a:pt x="46" y="13"/>
                      <a:pt x="44" y="10"/>
                      <a:pt x="41" y="7"/>
                    </a:cubicBezTo>
                    <a:cubicBezTo>
                      <a:pt x="37" y="2"/>
                      <a:pt x="31" y="0"/>
                      <a:pt x="25" y="0"/>
                    </a:cubicBezTo>
                    <a:cubicBezTo>
                      <a:pt x="19" y="0"/>
                      <a:pt x="13" y="2"/>
                      <a:pt x="9" y="7"/>
                    </a:cubicBezTo>
                    <a:cubicBezTo>
                      <a:pt x="3" y="13"/>
                      <a:pt x="0" y="22"/>
                      <a:pt x="3" y="30"/>
                    </a:cubicBezTo>
                    <a:cubicBezTo>
                      <a:pt x="3" y="31"/>
                      <a:pt x="4" y="31"/>
                      <a:pt x="5" y="31"/>
                    </a:cubicBezTo>
                    <a:cubicBezTo>
                      <a:pt x="5" y="31"/>
                      <a:pt x="5" y="31"/>
                      <a:pt x="5" y="31"/>
                    </a:cubicBezTo>
                    <a:cubicBezTo>
                      <a:pt x="6" y="31"/>
                      <a:pt x="7" y="30"/>
                      <a:pt x="6" y="29"/>
                    </a:cubicBezTo>
                    <a:close/>
                  </a:path>
                </a:pathLst>
              </a:custGeom>
              <a:grpFill/>
              <a:ln w="9525">
                <a:noFill/>
                <a:round/>
              </a:ln>
            </p:spPr>
            <p:txBody>
              <a:bodyPr anchor="ctr"/>
              <a:lstStyle/>
              <a:p>
                <a:pPr algn="ctr"/>
                <a:endParaRPr>
                  <a:latin typeface="+mn-ea"/>
                </a:endParaRPr>
              </a:p>
            </p:txBody>
          </p:sp>
          <p:sp>
            <p:nvSpPr>
              <p:cNvPr id="95" name="ïSľïḑè"/>
              <p:cNvSpPr/>
              <p:nvPr/>
            </p:nvSpPr>
            <p:spPr bwMode="auto">
              <a:xfrm>
                <a:off x="2043113" y="3498850"/>
                <a:ext cx="28575" cy="20638"/>
              </a:xfrm>
              <a:custGeom>
                <a:avLst/>
                <a:gdLst/>
                <a:ahLst/>
                <a:cxnLst>
                  <a:cxn ang="0">
                    <a:pos x="3" y="1"/>
                  </a:cxn>
                  <a:cxn ang="0">
                    <a:pos x="0" y="2"/>
                  </a:cxn>
                  <a:cxn ang="0">
                    <a:pos x="2" y="4"/>
                  </a:cxn>
                  <a:cxn ang="0">
                    <a:pos x="8" y="7"/>
                  </a:cxn>
                  <a:cxn ang="0">
                    <a:pos x="9" y="8"/>
                  </a:cxn>
                  <a:cxn ang="0">
                    <a:pos x="10" y="7"/>
                  </a:cxn>
                  <a:cxn ang="0">
                    <a:pos x="10" y="5"/>
                  </a:cxn>
                  <a:cxn ang="0">
                    <a:pos x="3" y="1"/>
                  </a:cxn>
                </a:cxnLst>
                <a:rect l="0" t="0" r="r" b="b"/>
                <a:pathLst>
                  <a:path w="11" h="8">
                    <a:moveTo>
                      <a:pt x="3" y="1"/>
                    </a:moveTo>
                    <a:cubicBezTo>
                      <a:pt x="2" y="0"/>
                      <a:pt x="1" y="1"/>
                      <a:pt x="0" y="2"/>
                    </a:cubicBezTo>
                    <a:cubicBezTo>
                      <a:pt x="0" y="3"/>
                      <a:pt x="1" y="4"/>
                      <a:pt x="2" y="4"/>
                    </a:cubicBezTo>
                    <a:cubicBezTo>
                      <a:pt x="4" y="5"/>
                      <a:pt x="6" y="6"/>
                      <a:pt x="8" y="7"/>
                    </a:cubicBezTo>
                    <a:cubicBezTo>
                      <a:pt x="8" y="8"/>
                      <a:pt x="8" y="8"/>
                      <a:pt x="9" y="8"/>
                    </a:cubicBezTo>
                    <a:cubicBezTo>
                      <a:pt x="9" y="8"/>
                      <a:pt x="10" y="8"/>
                      <a:pt x="10" y="7"/>
                    </a:cubicBezTo>
                    <a:cubicBezTo>
                      <a:pt x="11" y="7"/>
                      <a:pt x="11" y="6"/>
                      <a:pt x="10" y="5"/>
                    </a:cubicBezTo>
                    <a:cubicBezTo>
                      <a:pt x="8" y="3"/>
                      <a:pt x="5" y="1"/>
                      <a:pt x="3" y="1"/>
                    </a:cubicBezTo>
                    <a:close/>
                  </a:path>
                </a:pathLst>
              </a:custGeom>
              <a:grpFill/>
              <a:ln w="9525">
                <a:noFill/>
                <a:round/>
              </a:ln>
            </p:spPr>
            <p:txBody>
              <a:bodyPr anchor="ctr"/>
              <a:lstStyle/>
              <a:p>
                <a:pPr algn="ctr"/>
                <a:endParaRPr>
                  <a:latin typeface="+mn-ea"/>
                </a:endParaRPr>
              </a:p>
            </p:txBody>
          </p:sp>
          <p:sp>
            <p:nvSpPr>
              <p:cNvPr id="96" name="îšḷídê"/>
              <p:cNvSpPr/>
              <p:nvPr/>
            </p:nvSpPr>
            <p:spPr bwMode="auto">
              <a:xfrm>
                <a:off x="2070100" y="3522663"/>
                <a:ext cx="12700" cy="17463"/>
              </a:xfrm>
              <a:custGeom>
                <a:avLst/>
                <a:gdLst/>
                <a:ahLst/>
                <a:cxnLst>
                  <a:cxn ang="0">
                    <a:pos x="1" y="6"/>
                  </a:cxn>
                  <a:cxn ang="0">
                    <a:pos x="3" y="7"/>
                  </a:cxn>
                  <a:cxn ang="0">
                    <a:pos x="3" y="7"/>
                  </a:cxn>
                  <a:cxn ang="0">
                    <a:pos x="5" y="5"/>
                  </a:cxn>
                  <a:cxn ang="0">
                    <a:pos x="4" y="2"/>
                  </a:cxn>
                  <a:cxn ang="0">
                    <a:pos x="2" y="1"/>
                  </a:cxn>
                  <a:cxn ang="0">
                    <a:pos x="1" y="3"/>
                  </a:cxn>
                  <a:cxn ang="0">
                    <a:pos x="1" y="6"/>
                  </a:cxn>
                </a:cxnLst>
                <a:rect l="0" t="0" r="r" b="b"/>
                <a:pathLst>
                  <a:path w="5" h="7">
                    <a:moveTo>
                      <a:pt x="1" y="6"/>
                    </a:moveTo>
                    <a:cubicBezTo>
                      <a:pt x="1" y="7"/>
                      <a:pt x="2" y="7"/>
                      <a:pt x="3" y="7"/>
                    </a:cubicBezTo>
                    <a:cubicBezTo>
                      <a:pt x="3" y="7"/>
                      <a:pt x="3" y="7"/>
                      <a:pt x="3" y="7"/>
                    </a:cubicBezTo>
                    <a:cubicBezTo>
                      <a:pt x="4" y="7"/>
                      <a:pt x="5" y="6"/>
                      <a:pt x="5" y="5"/>
                    </a:cubicBezTo>
                    <a:cubicBezTo>
                      <a:pt x="5" y="4"/>
                      <a:pt x="4" y="3"/>
                      <a:pt x="4" y="2"/>
                    </a:cubicBezTo>
                    <a:cubicBezTo>
                      <a:pt x="4" y="1"/>
                      <a:pt x="3" y="0"/>
                      <a:pt x="2" y="1"/>
                    </a:cubicBezTo>
                    <a:cubicBezTo>
                      <a:pt x="1" y="1"/>
                      <a:pt x="0" y="2"/>
                      <a:pt x="1" y="3"/>
                    </a:cubicBezTo>
                    <a:cubicBezTo>
                      <a:pt x="1" y="4"/>
                      <a:pt x="1" y="5"/>
                      <a:pt x="1" y="6"/>
                    </a:cubicBezTo>
                    <a:close/>
                  </a:path>
                </a:pathLst>
              </a:custGeom>
              <a:grpFill/>
              <a:ln w="9525">
                <a:noFill/>
                <a:round/>
              </a:ln>
            </p:spPr>
            <p:txBody>
              <a:bodyPr anchor="ctr"/>
              <a:lstStyle/>
              <a:p>
                <a:pPr algn="ctr"/>
                <a:endParaRPr>
                  <a:latin typeface="+mn-ea"/>
                </a:endParaRPr>
              </a:p>
            </p:txBody>
          </p:sp>
        </p:grpSp>
      </p:grpSp>
      <p:grpSp>
        <p:nvGrpSpPr>
          <p:cNvPr id="97" name="ïslíḋe"/>
          <p:cNvGrpSpPr/>
          <p:nvPr/>
        </p:nvGrpSpPr>
        <p:grpSpPr>
          <a:xfrm>
            <a:off x="8254736" y="4395650"/>
            <a:ext cx="468000" cy="432000"/>
            <a:chOff x="5251865" y="3826624"/>
            <a:chExt cx="609600" cy="609600"/>
          </a:xfrm>
        </p:grpSpPr>
        <p:sp>
          <p:nvSpPr>
            <p:cNvPr id="98" name="î$ḷïḓê"/>
            <p:cNvSpPr/>
            <p:nvPr/>
          </p:nvSpPr>
          <p:spPr bwMode="auto">
            <a:xfrm>
              <a:off x="5251865" y="3826624"/>
              <a:ext cx="609600" cy="609600"/>
            </a:xfrm>
            <a:prstGeom prst="ellipse">
              <a:avLst/>
            </a:prstGeom>
            <a:solidFill>
              <a:srgbClr val="29A9C5"/>
            </a:solidFill>
            <a:ln w="19050">
              <a:noFill/>
              <a:round/>
            </a:ln>
          </p:spPr>
          <p:txBody>
            <a:bodyPr anchor="ctr"/>
            <a:lstStyle/>
            <a:p>
              <a:pPr algn="ctr"/>
              <a:endParaRPr>
                <a:latin typeface="+mn-ea"/>
              </a:endParaRPr>
            </a:p>
          </p:txBody>
        </p:sp>
        <p:grpSp>
          <p:nvGrpSpPr>
            <p:cNvPr id="99" name="iṣḻïḓé"/>
            <p:cNvGrpSpPr/>
            <p:nvPr/>
          </p:nvGrpSpPr>
          <p:grpSpPr>
            <a:xfrm>
              <a:off x="5364351" y="3943252"/>
              <a:ext cx="384689" cy="376327"/>
              <a:chOff x="6516688" y="1757363"/>
              <a:chExt cx="219075" cy="214313"/>
            </a:xfrm>
            <a:solidFill>
              <a:schemeClr val="bg1"/>
            </a:solidFill>
          </p:grpSpPr>
          <p:sp>
            <p:nvSpPr>
              <p:cNvPr id="100" name="ísḻîḍé"/>
              <p:cNvSpPr/>
              <p:nvPr/>
            </p:nvSpPr>
            <p:spPr bwMode="auto">
              <a:xfrm>
                <a:off x="6583363" y="1822450"/>
                <a:ext cx="87313" cy="87313"/>
              </a:xfrm>
              <a:custGeom>
                <a:avLst/>
                <a:gdLst/>
                <a:ahLst/>
                <a:cxnLst>
                  <a:cxn ang="0">
                    <a:pos x="0" y="17"/>
                  </a:cxn>
                  <a:cxn ang="0">
                    <a:pos x="17" y="34"/>
                  </a:cxn>
                  <a:cxn ang="0">
                    <a:pos x="34" y="17"/>
                  </a:cxn>
                  <a:cxn ang="0">
                    <a:pos x="17" y="0"/>
                  </a:cxn>
                  <a:cxn ang="0">
                    <a:pos x="0" y="17"/>
                  </a:cxn>
                  <a:cxn ang="0">
                    <a:pos x="29" y="17"/>
                  </a:cxn>
                  <a:cxn ang="0">
                    <a:pos x="17" y="29"/>
                  </a:cxn>
                  <a:cxn ang="0">
                    <a:pos x="5" y="17"/>
                  </a:cxn>
                  <a:cxn ang="0">
                    <a:pos x="17" y="6"/>
                  </a:cxn>
                  <a:cxn ang="0">
                    <a:pos x="29" y="17"/>
                  </a:cxn>
                </a:cxnLst>
                <a:rect l="0" t="0" r="r" b="b"/>
                <a:pathLst>
                  <a:path w="34" h="34">
                    <a:moveTo>
                      <a:pt x="0" y="17"/>
                    </a:moveTo>
                    <a:cubicBezTo>
                      <a:pt x="0" y="27"/>
                      <a:pt x="7" y="34"/>
                      <a:pt x="17" y="34"/>
                    </a:cubicBezTo>
                    <a:cubicBezTo>
                      <a:pt x="26" y="34"/>
                      <a:pt x="34" y="27"/>
                      <a:pt x="34" y="17"/>
                    </a:cubicBezTo>
                    <a:cubicBezTo>
                      <a:pt x="34" y="8"/>
                      <a:pt x="26" y="0"/>
                      <a:pt x="17" y="0"/>
                    </a:cubicBezTo>
                    <a:cubicBezTo>
                      <a:pt x="7" y="0"/>
                      <a:pt x="0" y="8"/>
                      <a:pt x="0" y="17"/>
                    </a:cubicBezTo>
                    <a:close/>
                    <a:moveTo>
                      <a:pt x="29" y="17"/>
                    </a:moveTo>
                    <a:cubicBezTo>
                      <a:pt x="29" y="24"/>
                      <a:pt x="23" y="29"/>
                      <a:pt x="17" y="29"/>
                    </a:cubicBezTo>
                    <a:cubicBezTo>
                      <a:pt x="10" y="29"/>
                      <a:pt x="5" y="24"/>
                      <a:pt x="5" y="17"/>
                    </a:cubicBezTo>
                    <a:cubicBezTo>
                      <a:pt x="5" y="11"/>
                      <a:pt x="10" y="6"/>
                      <a:pt x="17" y="6"/>
                    </a:cubicBezTo>
                    <a:cubicBezTo>
                      <a:pt x="23" y="6"/>
                      <a:pt x="29" y="11"/>
                      <a:pt x="29" y="17"/>
                    </a:cubicBezTo>
                    <a:close/>
                  </a:path>
                </a:pathLst>
              </a:custGeom>
              <a:grpFill/>
              <a:ln w="9525">
                <a:noFill/>
                <a:round/>
              </a:ln>
            </p:spPr>
            <p:txBody>
              <a:bodyPr anchor="ctr"/>
              <a:lstStyle/>
              <a:p>
                <a:pPr algn="ctr"/>
                <a:endParaRPr>
                  <a:latin typeface="+mn-ea"/>
                </a:endParaRPr>
              </a:p>
            </p:txBody>
          </p:sp>
          <p:sp>
            <p:nvSpPr>
              <p:cNvPr id="101" name="ïṩļîďé"/>
              <p:cNvSpPr/>
              <p:nvPr/>
            </p:nvSpPr>
            <p:spPr bwMode="auto">
              <a:xfrm>
                <a:off x="6516688" y="1757363"/>
                <a:ext cx="219075" cy="214313"/>
              </a:xfrm>
              <a:custGeom>
                <a:avLst/>
                <a:gdLst/>
                <a:ahLst/>
                <a:cxnLst>
                  <a:cxn ang="0">
                    <a:pos x="77" y="39"/>
                  </a:cxn>
                  <a:cxn ang="0">
                    <a:pos x="79" y="27"/>
                  </a:cxn>
                  <a:cxn ang="0">
                    <a:pos x="73" y="12"/>
                  </a:cxn>
                  <a:cxn ang="0">
                    <a:pos x="67" y="11"/>
                  </a:cxn>
                  <a:cxn ang="0">
                    <a:pos x="54" y="10"/>
                  </a:cxn>
                  <a:cxn ang="0">
                    <a:pos x="48" y="0"/>
                  </a:cxn>
                  <a:cxn ang="0">
                    <a:pos x="38" y="0"/>
                  </a:cxn>
                  <a:cxn ang="0">
                    <a:pos x="32" y="10"/>
                  </a:cxn>
                  <a:cxn ang="0">
                    <a:pos x="18" y="11"/>
                  </a:cxn>
                  <a:cxn ang="0">
                    <a:pos x="12" y="12"/>
                  </a:cxn>
                  <a:cxn ang="0">
                    <a:pos x="6" y="27"/>
                  </a:cxn>
                  <a:cxn ang="0">
                    <a:pos x="8" y="39"/>
                  </a:cxn>
                  <a:cxn ang="0">
                    <a:pos x="0" y="47"/>
                  </a:cxn>
                  <a:cxn ang="0">
                    <a:pos x="8" y="61"/>
                  </a:cxn>
                  <a:cxn ang="0">
                    <a:pos x="19" y="67"/>
                  </a:cxn>
                  <a:cxn ang="0">
                    <a:pos x="20" y="78"/>
                  </a:cxn>
                  <a:cxn ang="0">
                    <a:pos x="31" y="83"/>
                  </a:cxn>
                  <a:cxn ang="0">
                    <a:pos x="39" y="77"/>
                  </a:cxn>
                  <a:cxn ang="0">
                    <a:pos x="46" y="77"/>
                  </a:cxn>
                  <a:cxn ang="0">
                    <a:pos x="54" y="83"/>
                  </a:cxn>
                  <a:cxn ang="0">
                    <a:pos x="66" y="78"/>
                  </a:cxn>
                  <a:cxn ang="0">
                    <a:pos x="67" y="67"/>
                  </a:cxn>
                  <a:cxn ang="0">
                    <a:pos x="78" y="61"/>
                  </a:cxn>
                  <a:cxn ang="0">
                    <a:pos x="85" y="47"/>
                  </a:cxn>
                  <a:cxn ang="0">
                    <a:pos x="61" y="20"/>
                  </a:cxn>
                  <a:cxn ang="0">
                    <a:pos x="75" y="23"/>
                  </a:cxn>
                  <a:cxn ang="0">
                    <a:pos x="71" y="26"/>
                  </a:cxn>
                  <a:cxn ang="0">
                    <a:pos x="68" y="27"/>
                  </a:cxn>
                  <a:cxn ang="0">
                    <a:pos x="46" y="71"/>
                  </a:cxn>
                  <a:cxn ang="0">
                    <a:pos x="14" y="46"/>
                  </a:cxn>
                  <a:cxn ang="0">
                    <a:pos x="25" y="19"/>
                  </a:cxn>
                  <a:cxn ang="0">
                    <a:pos x="26" y="19"/>
                  </a:cxn>
                  <a:cxn ang="0">
                    <a:pos x="36" y="14"/>
                  </a:cxn>
                  <a:cxn ang="0">
                    <a:pos x="49" y="14"/>
                  </a:cxn>
                  <a:cxn ang="0">
                    <a:pos x="61" y="20"/>
                  </a:cxn>
                  <a:cxn ang="0">
                    <a:pos x="43" y="5"/>
                  </a:cxn>
                  <a:cxn ang="0">
                    <a:pos x="48" y="10"/>
                  </a:cxn>
                  <a:cxn ang="0">
                    <a:pos x="37" y="10"/>
                  </a:cxn>
                  <a:cxn ang="0">
                    <a:pos x="16" y="16"/>
                  </a:cxn>
                  <a:cxn ang="0">
                    <a:pos x="17" y="22"/>
                  </a:cxn>
                  <a:cxn ang="0">
                    <a:pos x="11" y="23"/>
                  </a:cxn>
                  <a:cxn ang="0">
                    <a:pos x="6" y="47"/>
                  </a:cxn>
                  <a:cxn ang="0">
                    <a:pos x="11" y="46"/>
                  </a:cxn>
                  <a:cxn ang="0">
                    <a:pos x="8" y="56"/>
                  </a:cxn>
                  <a:cxn ang="0">
                    <a:pos x="23" y="74"/>
                  </a:cxn>
                  <a:cxn ang="0">
                    <a:pos x="35" y="74"/>
                  </a:cxn>
                  <a:cxn ang="0">
                    <a:pos x="23" y="74"/>
                  </a:cxn>
                  <a:cxn ang="0">
                    <a:pos x="51" y="74"/>
                  </a:cxn>
                  <a:cxn ang="0">
                    <a:pos x="63" y="74"/>
                  </a:cxn>
                  <a:cxn ang="0">
                    <a:pos x="78" y="56"/>
                  </a:cxn>
                  <a:cxn ang="0">
                    <a:pos x="75" y="44"/>
                  </a:cxn>
                  <a:cxn ang="0">
                    <a:pos x="78" y="56"/>
                  </a:cxn>
                </a:cxnLst>
                <a:rect l="0" t="0" r="r" b="b"/>
                <a:pathLst>
                  <a:path w="85" h="83">
                    <a:moveTo>
                      <a:pt x="82" y="42"/>
                    </a:moveTo>
                    <a:cubicBezTo>
                      <a:pt x="77" y="39"/>
                      <a:pt x="77" y="39"/>
                      <a:pt x="77" y="39"/>
                    </a:cubicBezTo>
                    <a:cubicBezTo>
                      <a:pt x="77" y="37"/>
                      <a:pt x="76" y="34"/>
                      <a:pt x="75" y="31"/>
                    </a:cubicBezTo>
                    <a:cubicBezTo>
                      <a:pt x="79" y="27"/>
                      <a:pt x="79" y="27"/>
                      <a:pt x="79" y="27"/>
                    </a:cubicBezTo>
                    <a:cubicBezTo>
                      <a:pt x="81" y="25"/>
                      <a:pt x="81" y="23"/>
                      <a:pt x="80" y="21"/>
                    </a:cubicBezTo>
                    <a:cubicBezTo>
                      <a:pt x="78" y="18"/>
                      <a:pt x="76" y="15"/>
                      <a:pt x="73" y="12"/>
                    </a:cubicBezTo>
                    <a:cubicBezTo>
                      <a:pt x="72" y="11"/>
                      <a:pt x="71" y="11"/>
                      <a:pt x="70" y="11"/>
                    </a:cubicBezTo>
                    <a:cubicBezTo>
                      <a:pt x="69" y="11"/>
                      <a:pt x="68" y="11"/>
                      <a:pt x="67" y="11"/>
                    </a:cubicBezTo>
                    <a:cubicBezTo>
                      <a:pt x="62" y="14"/>
                      <a:pt x="62" y="14"/>
                      <a:pt x="62" y="14"/>
                    </a:cubicBezTo>
                    <a:cubicBezTo>
                      <a:pt x="59" y="12"/>
                      <a:pt x="57" y="11"/>
                      <a:pt x="54" y="10"/>
                    </a:cubicBezTo>
                    <a:cubicBezTo>
                      <a:pt x="52" y="4"/>
                      <a:pt x="52" y="4"/>
                      <a:pt x="52" y="4"/>
                    </a:cubicBezTo>
                    <a:cubicBezTo>
                      <a:pt x="52" y="2"/>
                      <a:pt x="50" y="0"/>
                      <a:pt x="48" y="0"/>
                    </a:cubicBezTo>
                    <a:cubicBezTo>
                      <a:pt x="46" y="0"/>
                      <a:pt x="44" y="0"/>
                      <a:pt x="43" y="0"/>
                    </a:cubicBezTo>
                    <a:cubicBezTo>
                      <a:pt x="41" y="0"/>
                      <a:pt x="40" y="0"/>
                      <a:pt x="38" y="0"/>
                    </a:cubicBezTo>
                    <a:cubicBezTo>
                      <a:pt x="36" y="0"/>
                      <a:pt x="34" y="2"/>
                      <a:pt x="33" y="4"/>
                    </a:cubicBezTo>
                    <a:cubicBezTo>
                      <a:pt x="32" y="10"/>
                      <a:pt x="32" y="10"/>
                      <a:pt x="32" y="10"/>
                    </a:cubicBezTo>
                    <a:cubicBezTo>
                      <a:pt x="29" y="11"/>
                      <a:pt x="26" y="12"/>
                      <a:pt x="24" y="14"/>
                    </a:cubicBezTo>
                    <a:cubicBezTo>
                      <a:pt x="18" y="11"/>
                      <a:pt x="18" y="11"/>
                      <a:pt x="18" y="11"/>
                    </a:cubicBezTo>
                    <a:cubicBezTo>
                      <a:pt x="18" y="11"/>
                      <a:pt x="17" y="11"/>
                      <a:pt x="16" y="11"/>
                    </a:cubicBezTo>
                    <a:cubicBezTo>
                      <a:pt x="15" y="11"/>
                      <a:pt x="13" y="11"/>
                      <a:pt x="12" y="12"/>
                    </a:cubicBezTo>
                    <a:cubicBezTo>
                      <a:pt x="10" y="15"/>
                      <a:pt x="8" y="18"/>
                      <a:pt x="6" y="21"/>
                    </a:cubicBezTo>
                    <a:cubicBezTo>
                      <a:pt x="5" y="23"/>
                      <a:pt x="5" y="25"/>
                      <a:pt x="6" y="27"/>
                    </a:cubicBezTo>
                    <a:cubicBezTo>
                      <a:pt x="10" y="31"/>
                      <a:pt x="10" y="31"/>
                      <a:pt x="10" y="31"/>
                    </a:cubicBezTo>
                    <a:cubicBezTo>
                      <a:pt x="9" y="34"/>
                      <a:pt x="9" y="37"/>
                      <a:pt x="8" y="39"/>
                    </a:cubicBezTo>
                    <a:cubicBezTo>
                      <a:pt x="3" y="42"/>
                      <a:pt x="3" y="42"/>
                      <a:pt x="3" y="42"/>
                    </a:cubicBezTo>
                    <a:cubicBezTo>
                      <a:pt x="1" y="43"/>
                      <a:pt x="0" y="45"/>
                      <a:pt x="0" y="47"/>
                    </a:cubicBezTo>
                    <a:cubicBezTo>
                      <a:pt x="1" y="51"/>
                      <a:pt x="2" y="54"/>
                      <a:pt x="3" y="58"/>
                    </a:cubicBezTo>
                    <a:cubicBezTo>
                      <a:pt x="4" y="60"/>
                      <a:pt x="6" y="61"/>
                      <a:pt x="8" y="61"/>
                    </a:cubicBezTo>
                    <a:cubicBezTo>
                      <a:pt x="14" y="61"/>
                      <a:pt x="14" y="61"/>
                      <a:pt x="14" y="61"/>
                    </a:cubicBezTo>
                    <a:cubicBezTo>
                      <a:pt x="15" y="63"/>
                      <a:pt x="17" y="65"/>
                      <a:pt x="19" y="67"/>
                    </a:cubicBezTo>
                    <a:cubicBezTo>
                      <a:pt x="17" y="73"/>
                      <a:pt x="17" y="73"/>
                      <a:pt x="17" y="73"/>
                    </a:cubicBezTo>
                    <a:cubicBezTo>
                      <a:pt x="17" y="75"/>
                      <a:pt x="18" y="77"/>
                      <a:pt x="20" y="78"/>
                    </a:cubicBezTo>
                    <a:cubicBezTo>
                      <a:pt x="23" y="80"/>
                      <a:pt x="26" y="82"/>
                      <a:pt x="30" y="83"/>
                    </a:cubicBezTo>
                    <a:cubicBezTo>
                      <a:pt x="30" y="83"/>
                      <a:pt x="31" y="83"/>
                      <a:pt x="31" y="83"/>
                    </a:cubicBezTo>
                    <a:cubicBezTo>
                      <a:pt x="33" y="83"/>
                      <a:pt x="34" y="82"/>
                      <a:pt x="35" y="81"/>
                    </a:cubicBezTo>
                    <a:cubicBezTo>
                      <a:pt x="39" y="77"/>
                      <a:pt x="39" y="77"/>
                      <a:pt x="39" y="77"/>
                    </a:cubicBezTo>
                    <a:cubicBezTo>
                      <a:pt x="41" y="77"/>
                      <a:pt x="42" y="77"/>
                      <a:pt x="43" y="77"/>
                    </a:cubicBezTo>
                    <a:cubicBezTo>
                      <a:pt x="44" y="77"/>
                      <a:pt x="45" y="77"/>
                      <a:pt x="46" y="77"/>
                    </a:cubicBezTo>
                    <a:cubicBezTo>
                      <a:pt x="50" y="81"/>
                      <a:pt x="50" y="81"/>
                      <a:pt x="50" y="81"/>
                    </a:cubicBezTo>
                    <a:cubicBezTo>
                      <a:pt x="51" y="82"/>
                      <a:pt x="53" y="83"/>
                      <a:pt x="54" y="83"/>
                    </a:cubicBezTo>
                    <a:cubicBezTo>
                      <a:pt x="55" y="83"/>
                      <a:pt x="55" y="83"/>
                      <a:pt x="56" y="83"/>
                    </a:cubicBezTo>
                    <a:cubicBezTo>
                      <a:pt x="59" y="82"/>
                      <a:pt x="63" y="80"/>
                      <a:pt x="66" y="78"/>
                    </a:cubicBezTo>
                    <a:cubicBezTo>
                      <a:pt x="68" y="77"/>
                      <a:pt x="69" y="75"/>
                      <a:pt x="68" y="73"/>
                    </a:cubicBezTo>
                    <a:cubicBezTo>
                      <a:pt x="67" y="67"/>
                      <a:pt x="67" y="67"/>
                      <a:pt x="67" y="67"/>
                    </a:cubicBezTo>
                    <a:cubicBezTo>
                      <a:pt x="69" y="65"/>
                      <a:pt x="70" y="63"/>
                      <a:pt x="72" y="61"/>
                    </a:cubicBezTo>
                    <a:cubicBezTo>
                      <a:pt x="78" y="61"/>
                      <a:pt x="78" y="61"/>
                      <a:pt x="78" y="61"/>
                    </a:cubicBezTo>
                    <a:cubicBezTo>
                      <a:pt x="80" y="61"/>
                      <a:pt x="82" y="60"/>
                      <a:pt x="83" y="58"/>
                    </a:cubicBezTo>
                    <a:cubicBezTo>
                      <a:pt x="84" y="54"/>
                      <a:pt x="85" y="51"/>
                      <a:pt x="85" y="47"/>
                    </a:cubicBezTo>
                    <a:cubicBezTo>
                      <a:pt x="85" y="45"/>
                      <a:pt x="84" y="43"/>
                      <a:pt x="82" y="42"/>
                    </a:cubicBezTo>
                    <a:close/>
                    <a:moveTo>
                      <a:pt x="61" y="20"/>
                    </a:moveTo>
                    <a:cubicBezTo>
                      <a:pt x="70" y="16"/>
                      <a:pt x="70" y="16"/>
                      <a:pt x="70" y="16"/>
                    </a:cubicBezTo>
                    <a:cubicBezTo>
                      <a:pt x="72" y="18"/>
                      <a:pt x="73" y="21"/>
                      <a:pt x="75" y="23"/>
                    </a:cubicBezTo>
                    <a:cubicBezTo>
                      <a:pt x="72" y="28"/>
                      <a:pt x="72" y="28"/>
                      <a:pt x="72" y="28"/>
                    </a:cubicBezTo>
                    <a:cubicBezTo>
                      <a:pt x="71" y="27"/>
                      <a:pt x="71" y="26"/>
                      <a:pt x="71" y="26"/>
                    </a:cubicBezTo>
                    <a:cubicBezTo>
                      <a:pt x="70" y="25"/>
                      <a:pt x="69" y="24"/>
                      <a:pt x="68" y="25"/>
                    </a:cubicBezTo>
                    <a:cubicBezTo>
                      <a:pt x="67" y="25"/>
                      <a:pt x="67" y="27"/>
                      <a:pt x="68" y="27"/>
                    </a:cubicBezTo>
                    <a:cubicBezTo>
                      <a:pt x="70" y="31"/>
                      <a:pt x="71" y="35"/>
                      <a:pt x="72" y="39"/>
                    </a:cubicBezTo>
                    <a:cubicBezTo>
                      <a:pt x="73" y="55"/>
                      <a:pt x="62" y="69"/>
                      <a:pt x="46" y="71"/>
                    </a:cubicBezTo>
                    <a:cubicBezTo>
                      <a:pt x="38" y="72"/>
                      <a:pt x="31" y="70"/>
                      <a:pt x="25" y="65"/>
                    </a:cubicBezTo>
                    <a:cubicBezTo>
                      <a:pt x="19" y="60"/>
                      <a:pt x="15" y="53"/>
                      <a:pt x="14" y="46"/>
                    </a:cubicBezTo>
                    <a:cubicBezTo>
                      <a:pt x="13" y="38"/>
                      <a:pt x="15" y="30"/>
                      <a:pt x="20" y="24"/>
                    </a:cubicBezTo>
                    <a:cubicBezTo>
                      <a:pt x="22" y="22"/>
                      <a:pt x="23" y="21"/>
                      <a:pt x="25" y="19"/>
                    </a:cubicBezTo>
                    <a:cubicBezTo>
                      <a:pt x="25" y="19"/>
                      <a:pt x="25" y="19"/>
                      <a:pt x="25" y="19"/>
                    </a:cubicBezTo>
                    <a:cubicBezTo>
                      <a:pt x="26" y="19"/>
                      <a:pt x="26" y="19"/>
                      <a:pt x="26" y="19"/>
                    </a:cubicBezTo>
                    <a:cubicBezTo>
                      <a:pt x="29" y="17"/>
                      <a:pt x="32" y="15"/>
                      <a:pt x="36" y="14"/>
                    </a:cubicBezTo>
                    <a:cubicBezTo>
                      <a:pt x="36" y="14"/>
                      <a:pt x="36" y="14"/>
                      <a:pt x="36" y="14"/>
                    </a:cubicBezTo>
                    <a:cubicBezTo>
                      <a:pt x="37" y="14"/>
                      <a:pt x="38" y="14"/>
                      <a:pt x="40" y="14"/>
                    </a:cubicBezTo>
                    <a:cubicBezTo>
                      <a:pt x="43" y="13"/>
                      <a:pt x="46" y="13"/>
                      <a:pt x="49" y="14"/>
                    </a:cubicBezTo>
                    <a:cubicBezTo>
                      <a:pt x="49" y="14"/>
                      <a:pt x="49" y="14"/>
                      <a:pt x="49" y="14"/>
                    </a:cubicBezTo>
                    <a:cubicBezTo>
                      <a:pt x="54" y="15"/>
                      <a:pt x="58" y="17"/>
                      <a:pt x="61" y="20"/>
                    </a:cubicBezTo>
                    <a:close/>
                    <a:moveTo>
                      <a:pt x="38" y="5"/>
                    </a:moveTo>
                    <a:cubicBezTo>
                      <a:pt x="40" y="5"/>
                      <a:pt x="41" y="5"/>
                      <a:pt x="43" y="5"/>
                    </a:cubicBezTo>
                    <a:cubicBezTo>
                      <a:pt x="44" y="5"/>
                      <a:pt x="46" y="5"/>
                      <a:pt x="47" y="5"/>
                    </a:cubicBezTo>
                    <a:cubicBezTo>
                      <a:pt x="48" y="10"/>
                      <a:pt x="48" y="10"/>
                      <a:pt x="48" y="10"/>
                    </a:cubicBezTo>
                    <a:cubicBezTo>
                      <a:pt x="45" y="10"/>
                      <a:pt x="42" y="10"/>
                      <a:pt x="39" y="10"/>
                    </a:cubicBezTo>
                    <a:cubicBezTo>
                      <a:pt x="39" y="10"/>
                      <a:pt x="38" y="10"/>
                      <a:pt x="37" y="10"/>
                    </a:cubicBezTo>
                    <a:lnTo>
                      <a:pt x="38" y="5"/>
                    </a:lnTo>
                    <a:close/>
                    <a:moveTo>
                      <a:pt x="16" y="16"/>
                    </a:moveTo>
                    <a:cubicBezTo>
                      <a:pt x="21" y="18"/>
                      <a:pt x="21" y="18"/>
                      <a:pt x="21" y="18"/>
                    </a:cubicBezTo>
                    <a:cubicBezTo>
                      <a:pt x="20" y="19"/>
                      <a:pt x="18" y="21"/>
                      <a:pt x="17" y="22"/>
                    </a:cubicBezTo>
                    <a:cubicBezTo>
                      <a:pt x="16" y="24"/>
                      <a:pt x="15" y="26"/>
                      <a:pt x="14" y="28"/>
                    </a:cubicBezTo>
                    <a:cubicBezTo>
                      <a:pt x="11" y="23"/>
                      <a:pt x="11" y="23"/>
                      <a:pt x="11" y="23"/>
                    </a:cubicBezTo>
                    <a:cubicBezTo>
                      <a:pt x="12" y="21"/>
                      <a:pt x="14" y="18"/>
                      <a:pt x="16" y="16"/>
                    </a:cubicBezTo>
                    <a:close/>
                    <a:moveTo>
                      <a:pt x="6" y="47"/>
                    </a:moveTo>
                    <a:cubicBezTo>
                      <a:pt x="10" y="44"/>
                      <a:pt x="10" y="44"/>
                      <a:pt x="10" y="44"/>
                    </a:cubicBezTo>
                    <a:cubicBezTo>
                      <a:pt x="10" y="45"/>
                      <a:pt x="11" y="45"/>
                      <a:pt x="11" y="46"/>
                    </a:cubicBezTo>
                    <a:cubicBezTo>
                      <a:pt x="11" y="49"/>
                      <a:pt x="12" y="53"/>
                      <a:pt x="13" y="56"/>
                    </a:cubicBezTo>
                    <a:cubicBezTo>
                      <a:pt x="8" y="56"/>
                      <a:pt x="8" y="56"/>
                      <a:pt x="8" y="56"/>
                    </a:cubicBezTo>
                    <a:cubicBezTo>
                      <a:pt x="7" y="53"/>
                      <a:pt x="6" y="50"/>
                      <a:pt x="6" y="47"/>
                    </a:cubicBezTo>
                    <a:close/>
                    <a:moveTo>
                      <a:pt x="23" y="74"/>
                    </a:moveTo>
                    <a:cubicBezTo>
                      <a:pt x="24" y="69"/>
                      <a:pt x="24" y="69"/>
                      <a:pt x="24" y="69"/>
                    </a:cubicBezTo>
                    <a:cubicBezTo>
                      <a:pt x="27" y="71"/>
                      <a:pt x="31" y="73"/>
                      <a:pt x="35" y="74"/>
                    </a:cubicBezTo>
                    <a:cubicBezTo>
                      <a:pt x="31" y="78"/>
                      <a:pt x="31" y="78"/>
                      <a:pt x="31" y="78"/>
                    </a:cubicBezTo>
                    <a:cubicBezTo>
                      <a:pt x="28" y="77"/>
                      <a:pt x="25" y="75"/>
                      <a:pt x="23" y="74"/>
                    </a:cubicBezTo>
                    <a:close/>
                    <a:moveTo>
                      <a:pt x="54" y="78"/>
                    </a:moveTo>
                    <a:cubicBezTo>
                      <a:pt x="51" y="74"/>
                      <a:pt x="51" y="74"/>
                      <a:pt x="51" y="74"/>
                    </a:cubicBezTo>
                    <a:cubicBezTo>
                      <a:pt x="55" y="73"/>
                      <a:pt x="59" y="71"/>
                      <a:pt x="62" y="69"/>
                    </a:cubicBezTo>
                    <a:cubicBezTo>
                      <a:pt x="63" y="74"/>
                      <a:pt x="63" y="74"/>
                      <a:pt x="63" y="74"/>
                    </a:cubicBezTo>
                    <a:cubicBezTo>
                      <a:pt x="60" y="75"/>
                      <a:pt x="57" y="77"/>
                      <a:pt x="54" y="78"/>
                    </a:cubicBezTo>
                    <a:close/>
                    <a:moveTo>
                      <a:pt x="78" y="56"/>
                    </a:moveTo>
                    <a:cubicBezTo>
                      <a:pt x="72" y="56"/>
                      <a:pt x="72" y="56"/>
                      <a:pt x="72" y="56"/>
                    </a:cubicBezTo>
                    <a:cubicBezTo>
                      <a:pt x="74" y="52"/>
                      <a:pt x="75" y="48"/>
                      <a:pt x="75" y="44"/>
                    </a:cubicBezTo>
                    <a:cubicBezTo>
                      <a:pt x="80" y="47"/>
                      <a:pt x="80" y="47"/>
                      <a:pt x="80" y="47"/>
                    </a:cubicBezTo>
                    <a:cubicBezTo>
                      <a:pt x="80" y="50"/>
                      <a:pt x="79" y="53"/>
                      <a:pt x="78" y="56"/>
                    </a:cubicBezTo>
                    <a:close/>
                  </a:path>
                </a:pathLst>
              </a:custGeom>
              <a:grpFill/>
              <a:ln w="9525">
                <a:noFill/>
                <a:round/>
              </a:ln>
            </p:spPr>
            <p:txBody>
              <a:bodyPr anchor="ctr"/>
              <a:lstStyle/>
              <a:p>
                <a:pPr algn="ctr"/>
                <a:endParaRPr>
                  <a:latin typeface="+mn-ea"/>
                </a:endParaRPr>
              </a:p>
            </p:txBody>
          </p:sp>
          <p:sp>
            <p:nvSpPr>
              <p:cNvPr id="102" name="iS1iďé"/>
              <p:cNvSpPr/>
              <p:nvPr/>
            </p:nvSpPr>
            <p:spPr bwMode="auto">
              <a:xfrm>
                <a:off x="6562725" y="1804988"/>
                <a:ext cx="87313" cy="101600"/>
              </a:xfrm>
              <a:custGeom>
                <a:avLst/>
                <a:gdLst/>
                <a:ahLst/>
                <a:cxnLst>
                  <a:cxn ang="0">
                    <a:pos x="0" y="24"/>
                  </a:cxn>
                  <a:cxn ang="0">
                    <a:pos x="5" y="40"/>
                  </a:cxn>
                  <a:cxn ang="0">
                    <a:pos x="7" y="40"/>
                  </a:cxn>
                  <a:cxn ang="0">
                    <a:pos x="8" y="40"/>
                  </a:cxn>
                  <a:cxn ang="0">
                    <a:pos x="8" y="37"/>
                  </a:cxn>
                  <a:cxn ang="0">
                    <a:pos x="4" y="24"/>
                  </a:cxn>
                  <a:cxn ang="0">
                    <a:pos x="25" y="3"/>
                  </a:cxn>
                  <a:cxn ang="0">
                    <a:pos x="31" y="4"/>
                  </a:cxn>
                  <a:cxn ang="0">
                    <a:pos x="34" y="3"/>
                  </a:cxn>
                  <a:cxn ang="0">
                    <a:pos x="33" y="1"/>
                  </a:cxn>
                  <a:cxn ang="0">
                    <a:pos x="25" y="0"/>
                  </a:cxn>
                  <a:cxn ang="0">
                    <a:pos x="0" y="24"/>
                  </a:cxn>
                </a:cxnLst>
                <a:rect l="0" t="0" r="r" b="b"/>
                <a:pathLst>
                  <a:path w="34" h="40">
                    <a:moveTo>
                      <a:pt x="0" y="24"/>
                    </a:moveTo>
                    <a:cubicBezTo>
                      <a:pt x="0" y="30"/>
                      <a:pt x="2" y="35"/>
                      <a:pt x="5" y="40"/>
                    </a:cubicBezTo>
                    <a:cubicBezTo>
                      <a:pt x="6" y="40"/>
                      <a:pt x="6" y="40"/>
                      <a:pt x="7" y="40"/>
                    </a:cubicBezTo>
                    <a:cubicBezTo>
                      <a:pt x="7" y="40"/>
                      <a:pt x="8" y="40"/>
                      <a:pt x="8" y="40"/>
                    </a:cubicBezTo>
                    <a:cubicBezTo>
                      <a:pt x="9" y="39"/>
                      <a:pt x="9" y="38"/>
                      <a:pt x="8" y="37"/>
                    </a:cubicBezTo>
                    <a:cubicBezTo>
                      <a:pt x="5" y="34"/>
                      <a:pt x="4" y="29"/>
                      <a:pt x="4" y="24"/>
                    </a:cubicBezTo>
                    <a:cubicBezTo>
                      <a:pt x="4" y="13"/>
                      <a:pt x="13" y="3"/>
                      <a:pt x="25" y="3"/>
                    </a:cubicBezTo>
                    <a:cubicBezTo>
                      <a:pt x="27" y="3"/>
                      <a:pt x="29" y="3"/>
                      <a:pt x="31" y="4"/>
                    </a:cubicBezTo>
                    <a:cubicBezTo>
                      <a:pt x="32" y="4"/>
                      <a:pt x="33" y="4"/>
                      <a:pt x="34" y="3"/>
                    </a:cubicBezTo>
                    <a:cubicBezTo>
                      <a:pt x="34" y="2"/>
                      <a:pt x="33" y="1"/>
                      <a:pt x="33" y="1"/>
                    </a:cubicBezTo>
                    <a:cubicBezTo>
                      <a:pt x="30" y="0"/>
                      <a:pt x="27" y="0"/>
                      <a:pt x="25" y="0"/>
                    </a:cubicBezTo>
                    <a:cubicBezTo>
                      <a:pt x="11" y="0"/>
                      <a:pt x="0" y="11"/>
                      <a:pt x="0" y="24"/>
                    </a:cubicBezTo>
                    <a:close/>
                  </a:path>
                </a:pathLst>
              </a:custGeom>
              <a:grpFill/>
              <a:ln w="9525">
                <a:noFill/>
                <a:round/>
              </a:ln>
            </p:spPr>
            <p:txBody>
              <a:bodyPr anchor="ctr"/>
              <a:lstStyle/>
              <a:p>
                <a:pPr algn="ctr"/>
                <a:endParaRPr>
                  <a:latin typeface="+mn-ea"/>
                </a:endParaRPr>
              </a:p>
            </p:txBody>
          </p:sp>
          <p:sp>
            <p:nvSpPr>
              <p:cNvPr id="103" name="îsḷïďe"/>
              <p:cNvSpPr/>
              <p:nvPr/>
            </p:nvSpPr>
            <p:spPr bwMode="auto">
              <a:xfrm>
                <a:off x="6594475" y="1822450"/>
                <a:ext cx="96838" cy="107950"/>
              </a:xfrm>
              <a:custGeom>
                <a:avLst/>
                <a:gdLst/>
                <a:ahLst/>
                <a:cxnLst>
                  <a:cxn ang="0">
                    <a:pos x="34" y="17"/>
                  </a:cxn>
                  <a:cxn ang="0">
                    <a:pos x="13" y="38"/>
                  </a:cxn>
                  <a:cxn ang="0">
                    <a:pos x="3" y="36"/>
                  </a:cxn>
                  <a:cxn ang="0">
                    <a:pos x="1" y="37"/>
                  </a:cxn>
                  <a:cxn ang="0">
                    <a:pos x="2" y="39"/>
                  </a:cxn>
                  <a:cxn ang="0">
                    <a:pos x="13" y="42"/>
                  </a:cxn>
                  <a:cxn ang="0">
                    <a:pos x="38" y="17"/>
                  </a:cxn>
                  <a:cxn ang="0">
                    <a:pos x="31" y="1"/>
                  </a:cxn>
                  <a:cxn ang="0">
                    <a:pos x="29" y="1"/>
                  </a:cxn>
                  <a:cxn ang="0">
                    <a:pos x="29" y="3"/>
                  </a:cxn>
                  <a:cxn ang="0">
                    <a:pos x="34" y="17"/>
                  </a:cxn>
                </a:cxnLst>
                <a:rect l="0" t="0" r="r" b="b"/>
                <a:pathLst>
                  <a:path w="38" h="42">
                    <a:moveTo>
                      <a:pt x="34" y="17"/>
                    </a:moveTo>
                    <a:cubicBezTo>
                      <a:pt x="34" y="29"/>
                      <a:pt x="25" y="38"/>
                      <a:pt x="13" y="38"/>
                    </a:cubicBezTo>
                    <a:cubicBezTo>
                      <a:pt x="9" y="38"/>
                      <a:pt x="6" y="38"/>
                      <a:pt x="3" y="36"/>
                    </a:cubicBezTo>
                    <a:cubicBezTo>
                      <a:pt x="2" y="36"/>
                      <a:pt x="1" y="36"/>
                      <a:pt x="1" y="37"/>
                    </a:cubicBezTo>
                    <a:cubicBezTo>
                      <a:pt x="0" y="38"/>
                      <a:pt x="1" y="39"/>
                      <a:pt x="2" y="39"/>
                    </a:cubicBezTo>
                    <a:cubicBezTo>
                      <a:pt x="5" y="41"/>
                      <a:pt x="9" y="42"/>
                      <a:pt x="13" y="42"/>
                    </a:cubicBezTo>
                    <a:cubicBezTo>
                      <a:pt x="26" y="42"/>
                      <a:pt x="38" y="31"/>
                      <a:pt x="38" y="17"/>
                    </a:cubicBezTo>
                    <a:cubicBezTo>
                      <a:pt x="38" y="11"/>
                      <a:pt x="35" y="5"/>
                      <a:pt x="31" y="1"/>
                    </a:cubicBezTo>
                    <a:cubicBezTo>
                      <a:pt x="31" y="0"/>
                      <a:pt x="30" y="0"/>
                      <a:pt x="29" y="1"/>
                    </a:cubicBezTo>
                    <a:cubicBezTo>
                      <a:pt x="28" y="1"/>
                      <a:pt x="28" y="3"/>
                      <a:pt x="29" y="3"/>
                    </a:cubicBezTo>
                    <a:cubicBezTo>
                      <a:pt x="32" y="7"/>
                      <a:pt x="34" y="12"/>
                      <a:pt x="34" y="17"/>
                    </a:cubicBezTo>
                    <a:close/>
                  </a:path>
                </a:pathLst>
              </a:custGeom>
              <a:grpFill/>
              <a:ln w="9525">
                <a:noFill/>
                <a:round/>
              </a:ln>
            </p:spPr>
            <p:txBody>
              <a:bodyPr anchor="ctr"/>
              <a:lstStyle/>
              <a:p>
                <a:pPr algn="ctr"/>
                <a:endParaRPr>
                  <a:latin typeface="+mn-ea"/>
                </a:endParaRPr>
              </a:p>
            </p:txBody>
          </p:sp>
        </p:grpSp>
      </p:grpSp>
      <p:sp>
        <p:nvSpPr>
          <p:cNvPr id="104" name="ïṣľîḓê"/>
          <p:cNvSpPr/>
          <p:nvPr/>
        </p:nvSpPr>
        <p:spPr bwMode="auto">
          <a:xfrm>
            <a:off x="8737716" y="4370187"/>
            <a:ext cx="2055422" cy="482914"/>
          </a:xfrm>
          <a:prstGeom prst="roundRect">
            <a:avLst/>
          </a:prstGeom>
          <a:noFill/>
          <a:ln w="9525">
            <a:noFill/>
            <a:miter lim="800000"/>
          </a:ln>
        </p:spPr>
        <p:txBody>
          <a:bodyPr vert="horz" wrap="square" lIns="91440" tIns="45720" rIns="91440" bIns="45720" anchor="ctr" anchorCtr="1" compatLnSpc="1">
            <a:normAutofit fontScale="85000" lnSpcReduction="10000"/>
          </a:bodyPr>
          <a:lstStyle/>
          <a:p>
            <a:pPr algn="ctr"/>
            <a:r>
              <a:rPr lang="zh-CN" altLang="en-US" sz="2400" b="1" dirty="0">
                <a:solidFill>
                  <a:srgbClr val="155474"/>
                </a:solidFill>
                <a:latin typeface="+mn-ea"/>
              </a:rPr>
              <a:t>同步放化疗</a:t>
            </a:r>
            <a:r>
              <a:rPr lang="en-US" altLang="zh-CN" sz="2400" b="1" dirty="0" err="1">
                <a:solidFill>
                  <a:srgbClr val="155474"/>
                </a:solidFill>
                <a:latin typeface="+mn-ea"/>
              </a:rPr>
              <a:t>cCRT</a:t>
            </a:r>
            <a:endParaRPr lang="zh-CN" altLang="en-US" sz="2400" b="1" dirty="0">
              <a:solidFill>
                <a:srgbClr val="155474"/>
              </a:solidFill>
              <a:latin typeface="+mn-ea"/>
            </a:endParaRPr>
          </a:p>
        </p:txBody>
      </p:sp>
      <p:sp>
        <p:nvSpPr>
          <p:cNvPr id="105" name="íśļïde"/>
          <p:cNvSpPr/>
          <p:nvPr/>
        </p:nvSpPr>
        <p:spPr bwMode="auto">
          <a:xfrm>
            <a:off x="8664455" y="5651069"/>
            <a:ext cx="2055422" cy="469860"/>
          </a:xfrm>
          <a:prstGeom prst="roundRect">
            <a:avLst/>
          </a:prstGeom>
          <a:noFill/>
          <a:ln w="9525">
            <a:noFill/>
            <a:miter lim="800000"/>
          </a:ln>
        </p:spPr>
        <p:txBody>
          <a:bodyPr vert="horz" wrap="square" lIns="91440" tIns="45720" rIns="91440" bIns="45720" anchor="ctr" anchorCtr="1" compatLnSpc="1">
            <a:normAutofit fontScale="85000" lnSpcReduction="10000"/>
          </a:bodyPr>
          <a:lstStyle/>
          <a:p>
            <a:pPr algn="ctr"/>
            <a:r>
              <a:rPr lang="zh-CN" altLang="en-US" sz="2400" b="1" dirty="0">
                <a:solidFill>
                  <a:srgbClr val="155474"/>
                </a:solidFill>
                <a:latin typeface="+mn-ea"/>
              </a:rPr>
              <a:t>序贯放化疗</a:t>
            </a:r>
            <a:r>
              <a:rPr lang="en-US" altLang="zh-CN" sz="2400" b="1" dirty="0" err="1">
                <a:solidFill>
                  <a:srgbClr val="155474"/>
                </a:solidFill>
                <a:latin typeface="+mn-ea"/>
              </a:rPr>
              <a:t>sCRT</a:t>
            </a:r>
            <a:endParaRPr lang="zh-CN" altLang="en-US" sz="2400" b="1" dirty="0">
              <a:solidFill>
                <a:srgbClr val="155474"/>
              </a:solidFill>
              <a:latin typeface="+mn-ea"/>
            </a:endParaRPr>
          </a:p>
        </p:txBody>
      </p:sp>
      <p:sp>
        <p:nvSpPr>
          <p:cNvPr id="109" name="文本框 108"/>
          <p:cNvSpPr txBox="1"/>
          <p:nvPr/>
        </p:nvSpPr>
        <p:spPr>
          <a:xfrm>
            <a:off x="2606447" y="6080068"/>
            <a:ext cx="2491710" cy="261610"/>
          </a:xfrm>
          <a:prstGeom prst="rect">
            <a:avLst/>
          </a:prstGeom>
          <a:noFill/>
        </p:spPr>
        <p:txBody>
          <a:bodyPr wrap="square">
            <a:spAutoFit/>
          </a:bodyPr>
          <a:lstStyle/>
          <a:p>
            <a:r>
              <a:rPr lang="en-US" altLang="zh-CN" sz="1100" dirty="0">
                <a:latin typeface="+mn-ea"/>
              </a:rPr>
              <a:t>EBUS</a:t>
            </a:r>
            <a:r>
              <a:rPr lang="zh-CN" altLang="en-US" sz="1100" dirty="0">
                <a:latin typeface="+mn-ea"/>
              </a:rPr>
              <a:t>：超声支气管镜</a:t>
            </a:r>
            <a:endParaRPr lang="zh-CN" altLang="en-US" sz="1100" dirty="0">
              <a:latin typeface="+mn-ea"/>
            </a:endParaRPr>
          </a:p>
        </p:txBody>
      </p:sp>
    </p:spTree>
    <p:custDataLst>
      <p:tags r:id="rId1"/>
    </p:custData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4 CSCO</a:t>
            </a:r>
            <a:r>
              <a:rPr lang="zh-CN" altLang="en-US" dirty="0"/>
              <a:t>指南</a:t>
            </a:r>
            <a:endParaRPr lang="zh-CN" altLang="en-US" dirty="0"/>
          </a:p>
        </p:txBody>
      </p:sp>
      <p:pic>
        <p:nvPicPr>
          <p:cNvPr id="5122" name="Picture 2"/>
          <p:cNvPicPr>
            <a:picLocks noGrp="1" noChangeAspect="1" noChangeArrowheads="1"/>
          </p:cNvPicPr>
          <p:nvPr>
            <p:ph idx="1"/>
          </p:nvPr>
        </p:nvPicPr>
        <p:blipFill>
          <a:blip r:embed="rId1"/>
          <a:srcRect/>
          <a:stretch>
            <a:fillRect/>
          </a:stretch>
        </p:blipFill>
        <p:spPr bwMode="auto">
          <a:xfrm>
            <a:off x="1444737" y="1094190"/>
            <a:ext cx="7944922" cy="5057185"/>
          </a:xfrm>
          <a:prstGeom prst="rect">
            <a:avLst/>
          </a:prstGeom>
          <a:noFill/>
          <a:ln w="9525">
            <a:noFill/>
            <a:miter lim="800000"/>
            <a:headEnd/>
            <a:tailEnd/>
          </a:ln>
          <a:effectLst/>
        </p:spPr>
      </p:pic>
      <p:sp>
        <p:nvSpPr>
          <p:cNvPr id="5" name="矩形 4"/>
          <p:cNvSpPr/>
          <p:nvPr/>
        </p:nvSpPr>
        <p:spPr>
          <a:xfrm>
            <a:off x="3562066" y="1719944"/>
            <a:ext cx="3470106" cy="107642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endParaRPr>
          </a:p>
        </p:txBody>
      </p:sp>
      <p:sp>
        <p:nvSpPr>
          <p:cNvPr id="3" name="文本框 2"/>
          <p:cNvSpPr txBox="1"/>
          <p:nvPr/>
        </p:nvSpPr>
        <p:spPr>
          <a:xfrm>
            <a:off x="217714" y="6472095"/>
            <a:ext cx="9645650" cy="246221"/>
          </a:xfrm>
          <a:prstGeom prst="rect">
            <a:avLst/>
          </a:prstGeom>
          <a:noFill/>
        </p:spPr>
        <p:txBody>
          <a:bodyPr wrap="square" rtlCol="0" anchor="t">
            <a:spAutoFit/>
          </a:bodyPr>
          <a:lstStyle/>
          <a:p>
            <a:r>
              <a:rPr lang="zh-CN" altLang="en-US" sz="1000" dirty="0">
                <a:latin typeface="Arial" panose="020B0604020202020204" pitchFamily="34" charset="0"/>
                <a:ea typeface="微软雅黑" panose="020B0503020204020204" charset="-122"/>
                <a:sym typeface="+mn-ea"/>
              </a:rPr>
              <a:t>中国临床肿瘤学会指南工作委员会</a:t>
            </a:r>
            <a:r>
              <a:rPr lang="en-US" altLang="zh-CN" sz="1000" dirty="0">
                <a:latin typeface="Arial" panose="020B0604020202020204" pitchFamily="34" charset="0"/>
                <a:ea typeface="微软雅黑" panose="020B0503020204020204" charset="-122"/>
                <a:sym typeface="+mn-ea"/>
              </a:rPr>
              <a:t>. </a:t>
            </a:r>
            <a:r>
              <a:rPr lang="zh-CN" altLang="en-US" sz="1000" dirty="0">
                <a:latin typeface="Arial" panose="020B0604020202020204" pitchFamily="34" charset="0"/>
                <a:ea typeface="微软雅黑" panose="020B0503020204020204" charset="-122"/>
                <a:sym typeface="+mn-ea"/>
              </a:rPr>
              <a:t>中国临床肿瘤学会</a:t>
            </a:r>
            <a:r>
              <a:rPr lang="en-US" altLang="zh-CN" sz="1000" dirty="0">
                <a:latin typeface="Arial" panose="020B0604020202020204" pitchFamily="34" charset="0"/>
                <a:ea typeface="微软雅黑" panose="020B0503020204020204" charset="-122"/>
                <a:sym typeface="+mn-ea"/>
              </a:rPr>
              <a:t>(CSCO)</a:t>
            </a:r>
            <a:r>
              <a:rPr lang="zh-CN" altLang="en-US" sz="1000" dirty="0">
                <a:latin typeface="Arial" panose="020B0604020202020204" pitchFamily="34" charset="0"/>
                <a:ea typeface="微软雅黑" panose="020B0503020204020204" charset="-122"/>
                <a:sym typeface="+mn-ea"/>
              </a:rPr>
              <a:t>非小细胞肺癌诊疗指南</a:t>
            </a:r>
            <a:r>
              <a:rPr lang="en-US" altLang="zh-CN" sz="1000" dirty="0">
                <a:latin typeface="Arial" panose="020B0604020202020204" pitchFamily="34" charset="0"/>
                <a:ea typeface="微软雅黑" panose="020B0503020204020204" charset="-122"/>
                <a:sym typeface="+mn-ea"/>
              </a:rPr>
              <a:t>. </a:t>
            </a:r>
            <a:r>
              <a:rPr lang="zh-CN" altLang="en-US" sz="1000" dirty="0">
                <a:latin typeface="Arial" panose="020B0604020202020204" pitchFamily="34" charset="0"/>
                <a:ea typeface="微软雅黑" panose="020B0503020204020204" charset="-122"/>
                <a:sym typeface="+mn-ea"/>
              </a:rPr>
              <a:t>北京</a:t>
            </a:r>
            <a:r>
              <a:rPr lang="en-US" altLang="zh-CN" sz="1000" dirty="0">
                <a:latin typeface="Arial" panose="020B0604020202020204" pitchFamily="34" charset="0"/>
                <a:ea typeface="微软雅黑" panose="020B0503020204020204" charset="-122"/>
                <a:sym typeface="+mn-ea"/>
              </a:rPr>
              <a:t>:</a:t>
            </a:r>
            <a:r>
              <a:rPr lang="zh-CN" altLang="en-US" sz="1000" dirty="0">
                <a:latin typeface="Arial" panose="020B0604020202020204" pitchFamily="34" charset="0"/>
                <a:ea typeface="微软雅黑" panose="020B0503020204020204" charset="-122"/>
                <a:sym typeface="+mn-ea"/>
              </a:rPr>
              <a:t>人民卫生出版社</a:t>
            </a:r>
            <a:r>
              <a:rPr lang="en-US" altLang="zh-CN" sz="1000" dirty="0">
                <a:latin typeface="Arial" panose="020B0604020202020204" pitchFamily="34" charset="0"/>
                <a:ea typeface="微软雅黑" panose="020B0503020204020204" charset="-122"/>
                <a:sym typeface="+mn-ea"/>
              </a:rPr>
              <a:t>.2024</a:t>
            </a:r>
            <a:endParaRPr lang="en-US" altLang="zh-CN" sz="1000" dirty="0">
              <a:latin typeface="Arial" panose="020B0604020202020204" pitchFamily="34" charset="0"/>
              <a:ea typeface="微软雅黑" panose="020B0503020204020204" charset="-122"/>
              <a:sym typeface="+mn-ea"/>
            </a:endParaRPr>
          </a:p>
        </p:txBody>
      </p:sp>
      <p:sp>
        <p:nvSpPr>
          <p:cNvPr id="4" name="矩形 3"/>
          <p:cNvSpPr/>
          <p:nvPr/>
        </p:nvSpPr>
        <p:spPr>
          <a:xfrm>
            <a:off x="7151914" y="1676820"/>
            <a:ext cx="2237745" cy="104511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271464" y="398404"/>
            <a:ext cx="11273587" cy="523220"/>
          </a:xfrm>
        </p:spPr>
        <p:txBody>
          <a:bodyPr>
            <a:normAutofit fontScale="90000"/>
          </a:bodyPr>
          <a:lstStyle/>
          <a:p>
            <a:r>
              <a:rPr lang="zh-CN" altLang="en-US" dirty="0"/>
              <a:t>临床不可忽视的问题：</a:t>
            </a:r>
            <a:r>
              <a:rPr lang="en-US" altLang="zh-CN" dirty="0" err="1"/>
              <a:t>cCRT</a:t>
            </a:r>
            <a:r>
              <a:rPr lang="zh-CN" altLang="en-US" dirty="0"/>
              <a:t>相比</a:t>
            </a:r>
            <a:r>
              <a:rPr lang="en-US" altLang="zh-CN" dirty="0" err="1"/>
              <a:t>sCRT</a:t>
            </a:r>
            <a:r>
              <a:rPr lang="zh-CN" altLang="en-US" dirty="0"/>
              <a:t>，毒性显著增加</a:t>
            </a:r>
            <a:endParaRPr lang="zh-CN" altLang="en-US" dirty="0"/>
          </a:p>
        </p:txBody>
      </p:sp>
      <p:graphicFrame>
        <p:nvGraphicFramePr>
          <p:cNvPr id="4" name="表格 5"/>
          <p:cNvGraphicFramePr>
            <a:graphicFrameLocks noGrp="1"/>
          </p:cNvGraphicFramePr>
          <p:nvPr/>
        </p:nvGraphicFramePr>
        <p:xfrm>
          <a:off x="955130" y="1830395"/>
          <a:ext cx="10122524" cy="2857675"/>
        </p:xfrm>
        <a:graphic>
          <a:graphicData uri="http://schemas.openxmlformats.org/drawingml/2006/table">
            <a:tbl>
              <a:tblPr firstRow="1" bandRow="1">
                <a:tableStyleId>{5C22544A-7EE6-4342-B048-85BDC9FD1C3A}</a:tableStyleId>
              </a:tblPr>
              <a:tblGrid>
                <a:gridCol w="2530631"/>
                <a:gridCol w="2530631"/>
                <a:gridCol w="2530631"/>
                <a:gridCol w="2530631"/>
              </a:tblGrid>
              <a:tr h="571535">
                <a:tc>
                  <a:txBody>
                    <a:bodyPr/>
                    <a:lstStyle/>
                    <a:p>
                      <a:pPr algn="ctr"/>
                      <a:r>
                        <a:rPr lang="zh-CN" altLang="en-US" dirty="0">
                          <a:effectLst>
                            <a:outerShdw blurRad="38100" dist="38100" dir="2700000" algn="tl">
                              <a:srgbClr val="000000">
                                <a:alpha val="43137"/>
                              </a:srgbClr>
                            </a:outerShdw>
                          </a:effectLst>
                        </a:rPr>
                        <a:t>≥</a:t>
                      </a:r>
                      <a:r>
                        <a:rPr lang="en-US" altLang="zh-CN" dirty="0">
                          <a:effectLst>
                            <a:outerShdw blurRad="38100" dist="38100" dir="2700000" algn="tl">
                              <a:srgbClr val="000000">
                                <a:alpha val="43137"/>
                              </a:srgbClr>
                            </a:outerShdw>
                          </a:effectLst>
                        </a:rPr>
                        <a:t>3</a:t>
                      </a:r>
                      <a:r>
                        <a:rPr lang="zh-CN" altLang="en-US" dirty="0">
                          <a:effectLst>
                            <a:outerShdw blurRad="38100" dist="38100" dir="2700000" algn="tl">
                              <a:srgbClr val="000000">
                                <a:alpha val="43137"/>
                              </a:srgbClr>
                            </a:outerShdw>
                          </a:effectLst>
                        </a:rPr>
                        <a:t>级不良事件</a:t>
                      </a:r>
                      <a:endParaRPr lang="zh-CN" altLang="en-US" dirty="0">
                        <a:effectLst>
                          <a:outerShdw blurRad="38100" dist="38100" dir="2700000" algn="tl">
                            <a:srgbClr val="000000">
                              <a:alpha val="43137"/>
                            </a:srgbClr>
                          </a:outerShdw>
                        </a:effectLs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A9C5"/>
                    </a:solidFill>
                  </a:tcPr>
                </a:tc>
                <a:tc>
                  <a:txBody>
                    <a:bodyPr/>
                    <a:lstStyle/>
                    <a:p>
                      <a:pPr algn="ctr"/>
                      <a:r>
                        <a:rPr lang="zh-CN" altLang="en-US" dirty="0">
                          <a:effectLst>
                            <a:outerShdw blurRad="38100" dist="38100" dir="2700000" algn="tl">
                              <a:srgbClr val="000000">
                                <a:alpha val="43137"/>
                              </a:srgbClr>
                            </a:outerShdw>
                          </a:effectLst>
                        </a:rPr>
                        <a:t>研究数量</a:t>
                      </a:r>
                      <a:endParaRPr lang="zh-CN" altLang="en-US" dirty="0">
                        <a:effectLst>
                          <a:outerShdw blurRad="38100" dist="38100" dir="2700000" algn="tl">
                            <a:srgbClr val="000000">
                              <a:alpha val="43137"/>
                            </a:srgbClr>
                          </a:outerShdw>
                        </a:effectLs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A9C5"/>
                    </a:solidFill>
                  </a:tcPr>
                </a:tc>
                <a:tc>
                  <a:txBody>
                    <a:bodyPr/>
                    <a:lstStyle/>
                    <a:p>
                      <a:pPr algn="ctr"/>
                      <a:r>
                        <a:rPr lang="en-US" altLang="zh-CN" dirty="0">
                          <a:effectLst>
                            <a:outerShdw blurRad="38100" dist="38100" dir="2700000" algn="tl">
                              <a:srgbClr val="000000">
                                <a:alpha val="43137"/>
                              </a:srgbClr>
                            </a:outerShdw>
                          </a:effectLst>
                        </a:rPr>
                        <a:t>RR</a:t>
                      </a:r>
                      <a:r>
                        <a:rPr lang="zh-CN" altLang="en-US" dirty="0">
                          <a:effectLst>
                            <a:outerShdw blurRad="38100" dist="38100" dir="2700000" algn="tl">
                              <a:srgbClr val="000000">
                                <a:alpha val="43137"/>
                              </a:srgbClr>
                            </a:outerShdw>
                          </a:effectLst>
                        </a:rPr>
                        <a:t>和</a:t>
                      </a:r>
                      <a:r>
                        <a:rPr lang="en-US" altLang="zh-CN" dirty="0">
                          <a:effectLst>
                            <a:outerShdw blurRad="38100" dist="38100" dir="2700000" algn="tl">
                              <a:srgbClr val="000000">
                                <a:alpha val="43137"/>
                              </a:srgbClr>
                            </a:outerShdw>
                          </a:effectLst>
                        </a:rPr>
                        <a:t>95% CI</a:t>
                      </a:r>
                      <a:endParaRPr lang="zh-CN" altLang="en-US" dirty="0">
                        <a:effectLst>
                          <a:outerShdw blurRad="38100" dist="38100" dir="2700000" algn="tl">
                            <a:srgbClr val="000000">
                              <a:alpha val="43137"/>
                            </a:srgbClr>
                          </a:outerShdw>
                        </a:effectLs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A9C5"/>
                    </a:solidFill>
                  </a:tcPr>
                </a:tc>
                <a:tc>
                  <a:txBody>
                    <a:bodyPr/>
                    <a:lstStyle/>
                    <a:p>
                      <a:pPr algn="ctr"/>
                      <a:r>
                        <a:rPr lang="en-US" altLang="zh-CN" dirty="0">
                          <a:effectLst>
                            <a:outerShdw blurRad="38100" dist="38100" dir="2700000" algn="tl">
                              <a:srgbClr val="000000">
                                <a:alpha val="43137"/>
                              </a:srgbClr>
                            </a:outerShdw>
                          </a:effectLst>
                        </a:rPr>
                        <a:t>P</a:t>
                      </a:r>
                      <a:r>
                        <a:rPr lang="zh-CN" altLang="en-US" dirty="0">
                          <a:effectLst>
                            <a:outerShdw blurRad="38100" dist="38100" dir="2700000" algn="tl">
                              <a:srgbClr val="000000">
                                <a:alpha val="43137"/>
                              </a:srgbClr>
                            </a:outerShdw>
                          </a:effectLst>
                        </a:rPr>
                        <a:t>值</a:t>
                      </a:r>
                      <a:endParaRPr lang="zh-CN" altLang="en-US" dirty="0">
                        <a:effectLst>
                          <a:outerShdw blurRad="38100" dist="38100" dir="2700000" algn="tl">
                            <a:srgbClr val="000000">
                              <a:alpha val="43137"/>
                            </a:srgbClr>
                          </a:outerShdw>
                        </a:effectLs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29A9C5"/>
                    </a:solidFill>
                  </a:tcPr>
                </a:tc>
              </a:tr>
              <a:tr h="571535">
                <a:tc>
                  <a:txBody>
                    <a:bodyPr/>
                    <a:lstStyle/>
                    <a:p>
                      <a:pPr algn="ctr"/>
                      <a:r>
                        <a:rPr lang="zh-CN" altLang="en-US" dirty="0">
                          <a:solidFill>
                            <a:srgbClr val="164171"/>
                          </a:solidFill>
                        </a:rPr>
                        <a:t>白细胞降低</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dirty="0">
                          <a:solidFill>
                            <a:srgbClr val="164171"/>
                          </a:solidFill>
                        </a:rPr>
                        <a:t>7</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sz="1800" b="0" i="0" u="none" strike="noStrike" kern="1200" baseline="0" dirty="0">
                          <a:solidFill>
                            <a:srgbClr val="164171"/>
                          </a:solidFill>
                          <a:latin typeface="+mn-lt"/>
                          <a:ea typeface="+mn-ea"/>
                          <a:cs typeface="+mn-cs"/>
                        </a:rPr>
                        <a:t>2.17 (1.44</a:t>
                      </a:r>
                      <a:r>
                        <a:rPr lang="zh-CN" altLang="en-US" sz="1800" b="0" i="0" u="none" strike="noStrike" kern="1200" baseline="0" dirty="0">
                          <a:solidFill>
                            <a:srgbClr val="164171"/>
                          </a:solidFill>
                          <a:latin typeface="+mn-lt"/>
                          <a:ea typeface="+mn-ea"/>
                          <a:cs typeface="+mn-cs"/>
                        </a:rPr>
                        <a:t>，</a:t>
                      </a:r>
                      <a:r>
                        <a:rPr lang="en-US" altLang="zh-CN" sz="1800" b="0" i="0" u="none" strike="noStrike" kern="1200" baseline="0" dirty="0">
                          <a:solidFill>
                            <a:srgbClr val="164171"/>
                          </a:solidFill>
                          <a:latin typeface="+mn-lt"/>
                          <a:ea typeface="+mn-ea"/>
                          <a:cs typeface="+mn-cs"/>
                        </a:rPr>
                        <a:t>3.26)</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zh-CN" altLang="en-US" dirty="0">
                          <a:solidFill>
                            <a:srgbClr val="164171"/>
                          </a:solidFill>
                        </a:rPr>
                        <a:t>＜</a:t>
                      </a:r>
                      <a:r>
                        <a:rPr lang="en-US" altLang="zh-CN" dirty="0">
                          <a:solidFill>
                            <a:srgbClr val="164171"/>
                          </a:solidFill>
                        </a:rPr>
                        <a:t>0.001</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r>
              <a:tr h="571535">
                <a:tc>
                  <a:txBody>
                    <a:bodyPr/>
                    <a:lstStyle/>
                    <a:p>
                      <a:pPr algn="ctr"/>
                      <a:r>
                        <a:rPr lang="zh-CN" altLang="en-US" dirty="0">
                          <a:solidFill>
                            <a:srgbClr val="164171"/>
                          </a:solidFill>
                        </a:rPr>
                        <a:t>血小板降低</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dirty="0">
                          <a:solidFill>
                            <a:srgbClr val="164171"/>
                          </a:solidFill>
                        </a:rPr>
                        <a:t>7</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sz="1800" b="0" i="0" u="none" strike="noStrike" kern="1200" baseline="0" dirty="0">
                          <a:solidFill>
                            <a:srgbClr val="164171"/>
                          </a:solidFill>
                          <a:latin typeface="+mn-lt"/>
                          <a:ea typeface="+mn-ea"/>
                          <a:cs typeface="+mn-cs"/>
                        </a:rPr>
                        <a:t>1.96 (1.24</a:t>
                      </a:r>
                      <a:r>
                        <a:rPr lang="zh-CN" altLang="en-US" sz="1800" b="0" i="0" u="none" strike="noStrike" kern="1200" baseline="0" dirty="0">
                          <a:solidFill>
                            <a:srgbClr val="164171"/>
                          </a:solidFill>
                          <a:latin typeface="+mn-lt"/>
                          <a:ea typeface="+mn-ea"/>
                          <a:cs typeface="+mn-cs"/>
                        </a:rPr>
                        <a:t>，</a:t>
                      </a:r>
                      <a:r>
                        <a:rPr lang="en-US" altLang="zh-CN" sz="1800" b="0" i="0" u="none" strike="noStrike" kern="1200" baseline="0" dirty="0">
                          <a:solidFill>
                            <a:srgbClr val="164171"/>
                          </a:solidFill>
                          <a:latin typeface="+mn-lt"/>
                          <a:ea typeface="+mn-ea"/>
                          <a:cs typeface="+mn-cs"/>
                        </a:rPr>
                        <a:t>3.09)</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dirty="0">
                          <a:solidFill>
                            <a:srgbClr val="164171"/>
                          </a:solidFill>
                        </a:rPr>
                        <a:t>=0.004</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r>
              <a:tr h="571535">
                <a:tc>
                  <a:txBody>
                    <a:bodyPr/>
                    <a:lstStyle/>
                    <a:p>
                      <a:pPr algn="ctr"/>
                      <a:r>
                        <a:rPr lang="zh-CN" altLang="en-US" dirty="0">
                          <a:solidFill>
                            <a:srgbClr val="164171"/>
                          </a:solidFill>
                        </a:rPr>
                        <a:t>食管炎</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dirty="0">
                          <a:solidFill>
                            <a:srgbClr val="164171"/>
                          </a:solidFill>
                        </a:rPr>
                        <a:t>11</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sz="1800" b="0" i="0" u="none" strike="noStrike" kern="1200" baseline="0" dirty="0">
                          <a:solidFill>
                            <a:srgbClr val="164171"/>
                          </a:solidFill>
                          <a:latin typeface="+mn-lt"/>
                          <a:ea typeface="+mn-ea"/>
                          <a:cs typeface="+mn-cs"/>
                        </a:rPr>
                        <a:t>3.85 (2.39</a:t>
                      </a:r>
                      <a:r>
                        <a:rPr lang="zh-CN" altLang="en-US" sz="1800" b="0" i="0" u="none" strike="noStrike" kern="1200" baseline="0" dirty="0">
                          <a:solidFill>
                            <a:srgbClr val="164171"/>
                          </a:solidFill>
                          <a:latin typeface="+mn-lt"/>
                          <a:ea typeface="+mn-ea"/>
                          <a:cs typeface="+mn-cs"/>
                        </a:rPr>
                        <a:t>，</a:t>
                      </a:r>
                      <a:r>
                        <a:rPr lang="en-US" altLang="zh-CN" sz="1800" b="0" i="0" u="none" strike="noStrike" kern="1200" baseline="0" dirty="0">
                          <a:solidFill>
                            <a:srgbClr val="164171"/>
                          </a:solidFill>
                          <a:latin typeface="+mn-lt"/>
                          <a:ea typeface="+mn-ea"/>
                          <a:cs typeface="+mn-cs"/>
                        </a:rPr>
                        <a:t>6.21)</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dirty="0">
                          <a:solidFill>
                            <a:srgbClr val="164171"/>
                          </a:solidFill>
                        </a:rPr>
                        <a:t>＜</a:t>
                      </a:r>
                      <a:r>
                        <a:rPr lang="en-US" altLang="zh-CN" dirty="0">
                          <a:solidFill>
                            <a:srgbClr val="164171"/>
                          </a:solidFill>
                        </a:rPr>
                        <a:t>0.001</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r>
              <a:tr h="571535">
                <a:tc>
                  <a:txBody>
                    <a:bodyPr/>
                    <a:lstStyle/>
                    <a:p>
                      <a:pPr algn="ctr"/>
                      <a:r>
                        <a:rPr lang="zh-CN" altLang="en-US" dirty="0">
                          <a:solidFill>
                            <a:srgbClr val="164171"/>
                          </a:solidFill>
                        </a:rPr>
                        <a:t>恶心</a:t>
                      </a:r>
                      <a:r>
                        <a:rPr lang="en-US" altLang="zh-CN" dirty="0">
                          <a:solidFill>
                            <a:srgbClr val="164171"/>
                          </a:solidFill>
                        </a:rPr>
                        <a:t>/</a:t>
                      </a:r>
                      <a:r>
                        <a:rPr lang="zh-CN" altLang="en-US" dirty="0">
                          <a:solidFill>
                            <a:srgbClr val="164171"/>
                          </a:solidFill>
                        </a:rPr>
                        <a:t>呕吐</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dirty="0">
                          <a:solidFill>
                            <a:srgbClr val="164171"/>
                          </a:solidFill>
                        </a:rPr>
                        <a:t>8</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sz="1800" b="0" i="0" u="none" strike="noStrike" kern="1200" baseline="0" dirty="0">
                          <a:solidFill>
                            <a:srgbClr val="164171"/>
                          </a:solidFill>
                          <a:latin typeface="+mn-lt"/>
                          <a:ea typeface="+mn-ea"/>
                          <a:cs typeface="+mn-cs"/>
                        </a:rPr>
                        <a:t>1.44 (1.05</a:t>
                      </a:r>
                      <a:r>
                        <a:rPr lang="zh-CN" altLang="en-US" sz="1800" b="0" i="0" u="none" strike="noStrike" kern="1200" baseline="0" dirty="0">
                          <a:solidFill>
                            <a:srgbClr val="164171"/>
                          </a:solidFill>
                          <a:latin typeface="+mn-lt"/>
                          <a:ea typeface="+mn-ea"/>
                          <a:cs typeface="+mn-cs"/>
                        </a:rPr>
                        <a:t>，</a:t>
                      </a:r>
                      <a:r>
                        <a:rPr lang="en-US" altLang="zh-CN" sz="1800" b="0" i="0" u="none" strike="noStrike" kern="1200" baseline="0" dirty="0">
                          <a:solidFill>
                            <a:srgbClr val="164171"/>
                          </a:solidFill>
                          <a:latin typeface="+mn-lt"/>
                          <a:ea typeface="+mn-ea"/>
                          <a:cs typeface="+mn-cs"/>
                        </a:rPr>
                        <a:t>1.97)</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algn="ctr"/>
                      <a:r>
                        <a:rPr lang="en-US" altLang="zh-CN" dirty="0">
                          <a:solidFill>
                            <a:srgbClr val="164171"/>
                          </a:solidFill>
                        </a:rPr>
                        <a:t>=0.024</a:t>
                      </a:r>
                      <a:endParaRPr lang="zh-CN" altLang="en-US" dirty="0">
                        <a:solidFill>
                          <a:srgbClr val="16417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r>
            </a:tbl>
          </a:graphicData>
        </a:graphic>
      </p:graphicFrame>
      <p:sp>
        <p:nvSpPr>
          <p:cNvPr id="5" name="文本框 4"/>
          <p:cNvSpPr txBox="1"/>
          <p:nvPr/>
        </p:nvSpPr>
        <p:spPr>
          <a:xfrm>
            <a:off x="583139" y="1401397"/>
            <a:ext cx="10122524" cy="282834"/>
          </a:xfrm>
          <a:prstGeom prst="rect">
            <a:avLst/>
          </a:prstGeom>
          <a:noFill/>
        </p:spPr>
        <p:txBody>
          <a:bodyPr wrap="square">
            <a:spAutoFit/>
          </a:bodyPr>
          <a:lstStyle>
            <a:defPPr>
              <a:defRPr lang="en-US"/>
            </a:defPPr>
            <a:lvl1pPr algn="ctr">
              <a:lnSpc>
                <a:spcPts val="1600"/>
              </a:lnSpc>
              <a:defRPr sz="1100">
                <a:solidFill>
                  <a:schemeClr val="tx1">
                    <a:lumMod val="50000"/>
                    <a:lumOff val="50000"/>
                  </a:schemeClr>
                </a:solidFill>
              </a:defRPr>
            </a:lvl1pPr>
          </a:lstStyle>
          <a:p>
            <a:r>
              <a:rPr lang="zh-CN" altLang="zh-CN" sz="1200" dirty="0"/>
              <a:t>一项荟萃分析，纳入了</a:t>
            </a:r>
            <a:r>
              <a:rPr lang="en-US" altLang="zh-CN" sz="1200" dirty="0"/>
              <a:t>14</a:t>
            </a:r>
            <a:r>
              <a:rPr lang="zh-CN" altLang="zh-CN" sz="1200" dirty="0"/>
              <a:t>项随机对照临床试验</a:t>
            </a:r>
            <a:r>
              <a:rPr lang="en-US" altLang="zh-CN" sz="1200" dirty="0"/>
              <a:t> (RCT)</a:t>
            </a:r>
            <a:r>
              <a:rPr lang="zh-CN" altLang="zh-CN" sz="1200" dirty="0"/>
              <a:t>，共</a:t>
            </a:r>
            <a:r>
              <a:rPr lang="en-US" altLang="zh-CN" sz="1200" dirty="0"/>
              <a:t>2643</a:t>
            </a:r>
            <a:r>
              <a:rPr lang="zh-CN" altLang="zh-CN" sz="1200" dirty="0"/>
              <a:t>例非小细胞肺癌患者，评估同步与序贯放化疗的疗效和安全性。</a:t>
            </a:r>
            <a:endParaRPr lang="zh-CN" altLang="en-US" sz="1200" dirty="0"/>
          </a:p>
        </p:txBody>
      </p:sp>
      <p:sp>
        <p:nvSpPr>
          <p:cNvPr id="6" name="文本框 5"/>
          <p:cNvSpPr txBox="1"/>
          <p:nvPr/>
        </p:nvSpPr>
        <p:spPr>
          <a:xfrm>
            <a:off x="955130" y="4834234"/>
            <a:ext cx="10707982" cy="1162241"/>
          </a:xfrm>
          <a:prstGeom prst="rect">
            <a:avLst/>
          </a:prstGeom>
          <a:noFill/>
        </p:spPr>
        <p:txBody>
          <a:bodyPr wrap="square" rtlCol="0">
            <a:spAutoFit/>
          </a:bodyPr>
          <a:lstStyle>
            <a:defPPr>
              <a:defRPr lang="en-US"/>
            </a:defPPr>
            <a:lvl1pPr algn="ctr">
              <a:defRPr sz="2400" b="1">
                <a:solidFill>
                  <a:schemeClr val="accent1">
                    <a:lumMod val="50000"/>
                  </a:schemeClr>
                </a:solidFill>
              </a:defRPr>
            </a:lvl1pPr>
          </a:lstStyle>
          <a:p>
            <a:pPr>
              <a:lnSpc>
                <a:spcPct val="150000"/>
              </a:lnSpc>
            </a:pPr>
            <a:r>
              <a:rPr lang="en-US" altLang="zh-CN" sz="2000" dirty="0"/>
              <a:t>cCRT vs sCRT</a:t>
            </a:r>
            <a:r>
              <a:rPr lang="zh-CN" altLang="en-US" sz="2000" dirty="0"/>
              <a:t>：≥</a:t>
            </a:r>
            <a:r>
              <a:rPr lang="en-US" altLang="zh-CN" sz="2000" dirty="0"/>
              <a:t>3</a:t>
            </a:r>
            <a:r>
              <a:rPr lang="zh-CN" altLang="en-US" sz="2000" dirty="0"/>
              <a:t>级白细胞降低、血小板降低、食管炎、恶心呕吐的发生显著增加</a:t>
            </a:r>
            <a:endParaRPr lang="en-US" altLang="zh-CN" sz="2000" dirty="0"/>
          </a:p>
          <a:p>
            <a:pPr>
              <a:lnSpc>
                <a:spcPct val="150000"/>
              </a:lnSpc>
            </a:pPr>
            <a:r>
              <a:rPr lang="zh-CN" altLang="zh-CN" sz="1400" b="0" dirty="0"/>
              <a:t>≥</a:t>
            </a:r>
            <a:r>
              <a:rPr lang="en-US" altLang="zh-CN" sz="1400" b="0" dirty="0"/>
              <a:t>3</a:t>
            </a:r>
            <a:r>
              <a:rPr lang="zh-CN" altLang="zh-CN" sz="1400" b="0" dirty="0"/>
              <a:t>级的血红蛋白降低、血小板计数减少、淋巴细胞计数减少、中性粒细胞减少、</a:t>
            </a:r>
            <a:r>
              <a:rPr lang="en-US" altLang="zh-CN" sz="1400" b="0" dirty="0"/>
              <a:t>ALT</a:t>
            </a:r>
            <a:r>
              <a:rPr lang="zh-CN" altLang="zh-CN" sz="1400" b="0" dirty="0"/>
              <a:t>异常、血清肌酐异常、口腔炎、腹泻、肺部感染、神经毒性、厌食、呼吸困难、心脏问题、感觉、疼痛、体重减轻、疲劳、过敏和发烧的发生率：</a:t>
            </a:r>
            <a:r>
              <a:rPr lang="en-US" altLang="zh-CN" sz="1400" b="0" dirty="0"/>
              <a:t>cCRT</a:t>
            </a:r>
            <a:r>
              <a:rPr lang="zh-CN" altLang="zh-CN" sz="1400" b="0" dirty="0"/>
              <a:t>和</a:t>
            </a:r>
            <a:r>
              <a:rPr lang="en-US" altLang="zh-CN" sz="1400" b="0" dirty="0"/>
              <a:t>sCRT</a:t>
            </a:r>
            <a:r>
              <a:rPr lang="zh-CN" altLang="zh-CN" sz="1400" b="0" dirty="0"/>
              <a:t>无显著差异</a:t>
            </a:r>
            <a:endParaRPr lang="zh-CN" altLang="en-US" sz="1400" b="0" dirty="0"/>
          </a:p>
        </p:txBody>
      </p:sp>
      <p:sp>
        <p:nvSpPr>
          <p:cNvPr id="7" name="文本框 6"/>
          <p:cNvSpPr txBox="1"/>
          <p:nvPr/>
        </p:nvSpPr>
        <p:spPr>
          <a:xfrm>
            <a:off x="381000" y="6459596"/>
            <a:ext cx="6096000" cy="253916"/>
          </a:xfrm>
          <a:prstGeom prst="rect">
            <a:avLst/>
          </a:prstGeom>
          <a:noFill/>
        </p:spPr>
        <p:txBody>
          <a:bodyPr wrap="square" rtlCol="0">
            <a:spAutoFit/>
          </a:bodyPr>
          <a:lstStyle>
            <a:defPPr>
              <a:defRPr lang="en-US"/>
            </a:defPPr>
            <a:lvl1pPr>
              <a:defRPr sz="1150"/>
            </a:lvl1pPr>
          </a:lstStyle>
          <a:p>
            <a:r>
              <a:rPr lang="zh-CN" altLang="en-US" sz="1000" dirty="0"/>
              <a:t>Wei Xiao, et al,. Medicine (Baltimore). 2021 Mar 19;100(11):e21455.</a:t>
            </a:r>
            <a:endParaRPr lang="zh-CN" altLang="en-US" sz="10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诊断</a:t>
            </a:r>
            <a:endParaRPr lang="zh-CN" altLang="en-US" dirty="0"/>
          </a:p>
        </p:txBody>
      </p:sp>
      <p:sp>
        <p:nvSpPr>
          <p:cNvPr id="5" name="内容占位符 4"/>
          <p:cNvSpPr>
            <a:spLocks noGrp="1"/>
          </p:cNvSpPr>
          <p:nvPr>
            <p:ph idx="1"/>
          </p:nvPr>
        </p:nvSpPr>
        <p:spPr/>
        <p:txBody>
          <a:bodyPr/>
          <a:lstStyle/>
          <a:p>
            <a:pPr>
              <a:buNone/>
            </a:pPr>
            <a:r>
              <a:rPr lang="en-US" altLang="zh-CN" dirty="0"/>
              <a:t>1</a:t>
            </a:r>
            <a:r>
              <a:rPr lang="zh-CN" altLang="en-US" dirty="0"/>
              <a:t>、</a:t>
            </a:r>
            <a:r>
              <a:rPr lang="zh-CN" altLang="en-US" dirty="0">
                <a:solidFill>
                  <a:srgbClr val="C00000"/>
                </a:solidFill>
              </a:rPr>
              <a:t>左上肺鳞状细胞癌并双肺门、纵隔淋巴结转移</a:t>
            </a:r>
            <a:r>
              <a:rPr lang="en-US" altLang="zh-CN" dirty="0">
                <a:solidFill>
                  <a:srgbClr val="C00000"/>
                </a:solidFill>
              </a:rPr>
              <a:t>cT4N3M0,IIIC</a:t>
            </a:r>
            <a:r>
              <a:rPr lang="zh-CN" altLang="en-US" dirty="0">
                <a:solidFill>
                  <a:srgbClr val="C00000"/>
                </a:solidFill>
              </a:rPr>
              <a:t>期</a:t>
            </a:r>
            <a:r>
              <a:rPr lang="en-US" altLang="zh-CN" dirty="0">
                <a:solidFill>
                  <a:srgbClr val="C00000"/>
                </a:solidFill>
              </a:rPr>
              <a:t>,PS=0-1</a:t>
            </a:r>
            <a:r>
              <a:rPr lang="zh-CN" altLang="en-US" dirty="0">
                <a:solidFill>
                  <a:srgbClr val="C00000"/>
                </a:solidFill>
              </a:rPr>
              <a:t>分</a:t>
            </a:r>
            <a:endParaRPr lang="en-US" altLang="zh-CN" dirty="0">
              <a:solidFill>
                <a:srgbClr val="C00000"/>
              </a:solidFill>
            </a:endParaRPr>
          </a:p>
          <a:p>
            <a:pPr>
              <a:buNone/>
            </a:pPr>
            <a:r>
              <a:rPr lang="en-US" altLang="zh-CN" dirty="0"/>
              <a:t>2</a:t>
            </a:r>
            <a:r>
              <a:rPr lang="zh-CN" altLang="en-US" dirty="0"/>
              <a:t>、咯血（肺癌相关，支气管动脉栓塞术）；</a:t>
            </a:r>
            <a:endParaRPr lang="en-US" altLang="zh-CN" dirty="0"/>
          </a:p>
          <a:p>
            <a:pPr>
              <a:buNone/>
            </a:pPr>
            <a:r>
              <a:rPr lang="en-US" altLang="zh-CN" dirty="0"/>
              <a:t>3</a:t>
            </a:r>
            <a:r>
              <a:rPr lang="zh-CN" altLang="en-US" dirty="0"/>
              <a:t>、左肺阻塞性肺炎；</a:t>
            </a:r>
            <a:endParaRPr lang="en-US" altLang="zh-CN" dirty="0"/>
          </a:p>
          <a:p>
            <a:pPr>
              <a:buNone/>
            </a:pPr>
            <a:r>
              <a:rPr lang="en-US" altLang="zh-CN" dirty="0"/>
              <a:t>4</a:t>
            </a:r>
            <a:r>
              <a:rPr lang="zh-CN" altLang="en-US" dirty="0"/>
              <a:t>、双肺多发实性结节：炎症？；</a:t>
            </a:r>
            <a:endParaRPr lang="en-US" altLang="zh-CN" dirty="0"/>
          </a:p>
          <a:p>
            <a:pPr>
              <a:buNone/>
            </a:pPr>
            <a:r>
              <a:rPr lang="en-US" altLang="zh-CN" dirty="0"/>
              <a:t>5</a:t>
            </a:r>
            <a:r>
              <a:rPr lang="zh-CN" altLang="en-US" dirty="0"/>
              <a:t>、口腔恶性肿瘤术后；</a:t>
            </a:r>
            <a:endParaRPr lang="en-US" altLang="zh-CN" dirty="0"/>
          </a:p>
          <a:p>
            <a:pPr>
              <a:buNone/>
            </a:pPr>
            <a:r>
              <a:rPr lang="en-US" altLang="zh-CN" dirty="0"/>
              <a:t>6</a:t>
            </a:r>
            <a:r>
              <a:rPr lang="zh-CN" altLang="en-US" dirty="0"/>
              <a:t>、急性肾功能不全氮质血症期；</a:t>
            </a:r>
            <a:endParaRPr lang="en-US" altLang="zh-CN" dirty="0"/>
          </a:p>
          <a:p>
            <a:pPr>
              <a:buNone/>
            </a:pPr>
            <a:r>
              <a:rPr lang="en-US" altLang="zh-CN" dirty="0"/>
              <a:t>7</a:t>
            </a:r>
            <a:r>
              <a:rPr lang="zh-CN" altLang="en-US" dirty="0"/>
              <a:t>、高血压病</a:t>
            </a:r>
            <a:r>
              <a:rPr lang="en-US" altLang="zh-CN" dirty="0"/>
              <a:t>2</a:t>
            </a:r>
            <a:r>
              <a:rPr lang="zh-CN" altLang="en-US" dirty="0"/>
              <a:t>级</a:t>
            </a:r>
            <a:endParaRPr lang="en-US" altLang="zh-CN" dirty="0"/>
          </a:p>
          <a:p>
            <a:pPr>
              <a:buNone/>
            </a:pPr>
            <a:r>
              <a:rPr lang="en-US" altLang="zh-CN" dirty="0"/>
              <a:t>8</a:t>
            </a:r>
            <a:r>
              <a:rPr lang="zh-CN" altLang="en-US" dirty="0"/>
              <a:t>、轻度贫血；</a:t>
            </a:r>
            <a:endParaRPr lang="en-US" altLang="zh-CN" dirty="0"/>
          </a:p>
          <a:p>
            <a:pPr>
              <a:buNone/>
            </a:pPr>
            <a:r>
              <a:rPr lang="en-US" altLang="zh-CN" dirty="0"/>
              <a:t>……</a:t>
            </a:r>
            <a:endParaRPr lang="en-US" altLang="zh-CN" dirty="0"/>
          </a:p>
        </p:txBody>
      </p:sp>
      <p:sp>
        <p:nvSpPr>
          <p:cNvPr id="3" name="文本框 2"/>
          <p:cNvSpPr txBox="1"/>
          <p:nvPr/>
        </p:nvSpPr>
        <p:spPr>
          <a:xfrm>
            <a:off x="2032000" y="5517231"/>
            <a:ext cx="4914306" cy="461665"/>
          </a:xfrm>
          <a:prstGeom prst="rect">
            <a:avLst/>
          </a:prstGeom>
          <a:noFill/>
        </p:spPr>
        <p:txBody>
          <a:bodyPr wrap="square">
            <a:spAutoFit/>
          </a:bodyPr>
          <a:lstStyle/>
          <a:p>
            <a:r>
              <a:rPr lang="zh-CN" altLang="en-US" sz="2400" b="1" i="0" dirty="0">
                <a:solidFill>
                  <a:srgbClr val="002060"/>
                </a:solidFill>
                <a:effectLst/>
                <a:latin typeface="+mn-ea"/>
              </a:rPr>
              <a:t>高龄、多基础疾病、并发症：</a:t>
            </a:r>
            <a:r>
              <a:rPr lang="en-US" altLang="zh-CN" sz="2400" b="1" i="0" dirty="0" err="1">
                <a:solidFill>
                  <a:srgbClr val="002060"/>
                </a:solidFill>
                <a:effectLst/>
                <a:latin typeface="+mn-ea"/>
              </a:rPr>
              <a:t>sCRT</a:t>
            </a:r>
            <a:endParaRPr lang="zh-CN" altLang="en-US" sz="2400" dirty="0">
              <a:solidFill>
                <a:srgbClr val="002060"/>
              </a:solidFill>
              <a:latin typeface="+mn-ea"/>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治疗</a:t>
            </a:r>
            <a:endParaRPr lang="zh-CN" altLang="en-US" dirty="0"/>
          </a:p>
        </p:txBody>
      </p:sp>
      <p:sp>
        <p:nvSpPr>
          <p:cNvPr id="3" name="内容占位符 2"/>
          <p:cNvSpPr>
            <a:spLocks noGrp="1"/>
          </p:cNvSpPr>
          <p:nvPr>
            <p:ph idx="1"/>
          </p:nvPr>
        </p:nvSpPr>
        <p:spPr/>
        <p:txBody>
          <a:bodyPr/>
          <a:lstStyle/>
          <a:p>
            <a:endParaRPr lang="en-US" altLang="zh-CN" dirty="0"/>
          </a:p>
          <a:p>
            <a:pPr>
              <a:buFont typeface="Wingdings" panose="05000000000000000000" pitchFamily="2" charset="2"/>
              <a:buChar char="p"/>
            </a:pPr>
            <a:r>
              <a:rPr lang="en-US" altLang="zh-CN" dirty="0"/>
              <a:t>2024-12-25</a:t>
            </a:r>
            <a:r>
              <a:rPr lang="zh-CN" altLang="en-US" dirty="0"/>
              <a:t>至</a:t>
            </a:r>
            <a:r>
              <a:rPr lang="en-US" altLang="zh-CN" dirty="0"/>
              <a:t>2025-01-27  </a:t>
            </a:r>
            <a:r>
              <a:rPr lang="zh-CN" altLang="en-US"/>
              <a:t>放疗，</a:t>
            </a:r>
            <a:r>
              <a:rPr lang="en-US" altLang="zh-CN"/>
              <a:t>59.4Gy/27</a:t>
            </a:r>
            <a:r>
              <a:rPr lang="zh-CN" altLang="en-US" dirty="0"/>
              <a:t>次 </a:t>
            </a:r>
            <a:endParaRPr lang="zh-CN" alt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5-2-28</a:t>
            </a:r>
            <a:r>
              <a:rPr lang="zh-CN" altLang="en-US" dirty="0"/>
              <a:t>第二次住院</a:t>
            </a:r>
            <a:endParaRPr lang="zh-CN" altLang="en-US" dirty="0"/>
          </a:p>
        </p:txBody>
      </p:sp>
      <p:sp>
        <p:nvSpPr>
          <p:cNvPr id="3" name="内容占位符 2"/>
          <p:cNvSpPr>
            <a:spLocks noGrp="1"/>
          </p:cNvSpPr>
          <p:nvPr>
            <p:ph idx="1"/>
          </p:nvPr>
        </p:nvSpPr>
        <p:spPr/>
        <p:txBody>
          <a:bodyPr/>
          <a:lstStyle/>
          <a:p>
            <a:endParaRPr lang="en-US" altLang="zh-CN" b="1" dirty="0"/>
          </a:p>
          <a:p>
            <a:endParaRPr lang="en-US" altLang="zh-CN" b="1" dirty="0"/>
          </a:p>
          <a:p>
            <a:endParaRPr lang="en-US" altLang="zh-CN" b="1" dirty="0"/>
          </a:p>
          <a:p>
            <a:pPr marL="0" indent="0">
              <a:buNone/>
            </a:pPr>
            <a:r>
              <a:rPr lang="zh-CN" altLang="en-US" b="1" dirty="0"/>
              <a:t>   主诉：确诊肺癌</a:t>
            </a:r>
            <a:r>
              <a:rPr lang="en-US" altLang="zh-CN" b="1" dirty="0"/>
              <a:t>3</a:t>
            </a:r>
            <a:r>
              <a:rPr lang="zh-CN" altLang="en-US" b="1" dirty="0"/>
              <a:t>月余，咳嗽、气促</a:t>
            </a:r>
            <a:r>
              <a:rPr lang="en-US" altLang="zh-CN" b="1" dirty="0"/>
              <a:t>10</a:t>
            </a:r>
            <a:r>
              <a:rPr lang="zh-CN" altLang="en-US" b="1" dirty="0"/>
              <a:t>余天。</a:t>
            </a:r>
            <a:endParaRPr lang="zh-CN" alt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2025-02-28</a:t>
            </a:r>
            <a:r>
              <a:rPr lang="zh-CN" altLang="en-US" dirty="0"/>
              <a:t>胸部</a:t>
            </a:r>
            <a:r>
              <a:rPr lang="en-US" altLang="zh-CN" dirty="0"/>
              <a:t>CT</a:t>
            </a:r>
            <a:r>
              <a:rPr lang="zh-CN" altLang="en-US" dirty="0"/>
              <a:t>平扫</a:t>
            </a:r>
            <a:endParaRPr lang="zh-CN" altLang="en-US" dirty="0"/>
          </a:p>
        </p:txBody>
      </p:sp>
      <p:sp>
        <p:nvSpPr>
          <p:cNvPr id="6" name="矩形 5"/>
          <p:cNvSpPr/>
          <p:nvPr/>
        </p:nvSpPr>
        <p:spPr>
          <a:xfrm>
            <a:off x="7756478" y="2508872"/>
            <a:ext cx="4198961" cy="1754326"/>
          </a:xfrm>
          <a:prstGeom prst="rect">
            <a:avLst/>
          </a:prstGeom>
        </p:spPr>
        <p:txBody>
          <a:bodyPr wrap="square">
            <a:spAutoFit/>
          </a:bodyPr>
          <a:lstStyle/>
          <a:p>
            <a:r>
              <a:rPr lang="en-US" b="1" dirty="0" err="1"/>
              <a:t>肺癌治疗后复查：</a:t>
            </a:r>
            <a:r>
              <a:rPr lang="en-US" b="1" dirty="0" err="1">
                <a:solidFill>
                  <a:srgbClr val="0070C0"/>
                </a:solidFill>
              </a:rPr>
              <a:t>肿块较前明显缩小，</a:t>
            </a:r>
            <a:r>
              <a:rPr lang="en-US" b="1" dirty="0" err="1"/>
              <a:t>远端阻塞性肺不张明显改善</a:t>
            </a:r>
            <a:r>
              <a:rPr lang="en-US" b="1" dirty="0"/>
              <a:t>。</a:t>
            </a:r>
            <a:endParaRPr lang="en-US" b="1" dirty="0"/>
          </a:p>
          <a:p>
            <a:br>
              <a:rPr lang="en-US" b="1" dirty="0"/>
            </a:br>
            <a:r>
              <a:rPr lang="en-US" b="1" dirty="0" err="1">
                <a:solidFill>
                  <a:srgbClr val="0070C0"/>
                </a:solidFill>
              </a:rPr>
              <a:t>左肺下叶背段、双肺上叶新发感染性病变</a:t>
            </a:r>
            <a:r>
              <a:rPr lang="en-US" b="1" dirty="0"/>
              <a:t>。</a:t>
            </a:r>
            <a:br>
              <a:rPr lang="en-US" b="1" dirty="0"/>
            </a:br>
            <a:endParaRPr lang="zh-CN" altLang="en-US" dirty="0"/>
          </a:p>
        </p:txBody>
      </p:sp>
      <p:pic>
        <p:nvPicPr>
          <p:cNvPr id="1029" name="Picture 5"/>
          <p:cNvPicPr>
            <a:picLocks noChangeAspect="1" noChangeArrowheads="1"/>
          </p:cNvPicPr>
          <p:nvPr/>
        </p:nvPicPr>
        <p:blipFill>
          <a:blip r:embed="rId1" cstate="print"/>
          <a:srcRect/>
          <a:stretch>
            <a:fillRect/>
          </a:stretch>
        </p:blipFill>
        <p:spPr bwMode="auto">
          <a:xfrm>
            <a:off x="1038866" y="3562065"/>
            <a:ext cx="6549289" cy="2042898"/>
          </a:xfrm>
          <a:prstGeom prst="rect">
            <a:avLst/>
          </a:prstGeom>
          <a:noFill/>
          <a:ln w="9525">
            <a:noFill/>
            <a:miter lim="800000"/>
            <a:headEnd/>
            <a:tailEnd/>
          </a:ln>
          <a:effectLst/>
        </p:spPr>
      </p:pic>
      <p:pic>
        <p:nvPicPr>
          <p:cNvPr id="1030" name="Picture 6"/>
          <p:cNvPicPr>
            <a:picLocks noChangeAspect="1" noChangeArrowheads="1"/>
          </p:cNvPicPr>
          <p:nvPr/>
        </p:nvPicPr>
        <p:blipFill>
          <a:blip r:embed="rId2" cstate="print"/>
          <a:srcRect/>
          <a:stretch>
            <a:fillRect/>
          </a:stretch>
        </p:blipFill>
        <p:spPr bwMode="auto">
          <a:xfrm>
            <a:off x="1027067" y="1513693"/>
            <a:ext cx="6547440" cy="1926179"/>
          </a:xfrm>
          <a:prstGeom prst="rect">
            <a:avLst/>
          </a:prstGeom>
          <a:noFill/>
          <a:ln w="9525">
            <a:noFill/>
            <a:miter lim="800000"/>
            <a:headEnd/>
            <a:tailEnd/>
          </a:ln>
          <a:effectLst/>
        </p:spPr>
      </p:pic>
      <p:sp>
        <p:nvSpPr>
          <p:cNvPr id="11" name="下箭头 10"/>
          <p:cNvSpPr/>
          <p:nvPr/>
        </p:nvSpPr>
        <p:spPr>
          <a:xfrm>
            <a:off x="2947916" y="4026090"/>
            <a:ext cx="218366" cy="341194"/>
          </a:xfrm>
          <a:prstGeom prst="downArrow">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下箭头 11"/>
          <p:cNvSpPr/>
          <p:nvPr/>
        </p:nvSpPr>
        <p:spPr>
          <a:xfrm>
            <a:off x="6648733" y="4069307"/>
            <a:ext cx="188795" cy="325271"/>
          </a:xfrm>
          <a:prstGeom prst="downArrow">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辅助检查</a:t>
            </a:r>
            <a:endParaRPr lang="zh-CN" altLang="en-US" dirty="0"/>
          </a:p>
        </p:txBody>
      </p:sp>
      <p:sp>
        <p:nvSpPr>
          <p:cNvPr id="3" name="内容占位符 2"/>
          <p:cNvSpPr>
            <a:spLocks noGrp="1"/>
          </p:cNvSpPr>
          <p:nvPr>
            <p:ph idx="1"/>
          </p:nvPr>
        </p:nvSpPr>
        <p:spPr/>
        <p:txBody>
          <a:bodyPr/>
          <a:lstStyle/>
          <a:p>
            <a:pPr>
              <a:buNone/>
            </a:pPr>
            <a:r>
              <a:rPr lang="en-US" altLang="zh-CN" sz="2800" dirty="0"/>
              <a:t>2025-2-28 </a:t>
            </a:r>
            <a:endParaRPr lang="en-US" altLang="zh-CN" sz="2800" dirty="0"/>
          </a:p>
          <a:p>
            <a:pPr>
              <a:buNone/>
            </a:pPr>
            <a:endParaRPr lang="en-US" altLang="zh-CN" dirty="0"/>
          </a:p>
          <a:p>
            <a:r>
              <a:rPr lang="zh-CN" altLang="en-US" dirty="0"/>
              <a:t>血常规：</a:t>
            </a:r>
            <a:r>
              <a:rPr lang="en-US" altLang="zh-CN" dirty="0"/>
              <a:t>WBC 5.74*10^9/L,</a:t>
            </a:r>
            <a:r>
              <a:rPr lang="zh-CN" altLang="en-US" dirty="0"/>
              <a:t> </a:t>
            </a:r>
            <a:r>
              <a:rPr lang="en-US" altLang="zh-CN" dirty="0" err="1"/>
              <a:t>Neut</a:t>
            </a:r>
            <a:r>
              <a:rPr lang="en-US" altLang="zh-CN" dirty="0"/>
              <a:t>% 62.00 %</a:t>
            </a:r>
            <a:endParaRPr lang="en-US" altLang="zh-CN" dirty="0"/>
          </a:p>
          <a:p>
            <a:endParaRPr lang="en-US" altLang="zh-CN" dirty="0"/>
          </a:p>
          <a:p>
            <a:r>
              <a:rPr lang="zh-CN" altLang="en-US" dirty="0"/>
              <a:t>血气分析</a:t>
            </a:r>
            <a:r>
              <a:rPr lang="en-US" altLang="zh-CN" dirty="0"/>
              <a:t>:PH 7.47</a:t>
            </a:r>
            <a:r>
              <a:rPr lang="zh-CN" altLang="en-US" dirty="0"/>
              <a:t>、</a:t>
            </a:r>
            <a:r>
              <a:rPr lang="en-US" altLang="zh-CN" dirty="0"/>
              <a:t>PO2 72 mmHg</a:t>
            </a:r>
            <a:r>
              <a:rPr lang="zh-CN" altLang="en-US" dirty="0"/>
              <a:t>、</a:t>
            </a:r>
            <a:r>
              <a:rPr lang="en-US" altLang="zh-CN" dirty="0"/>
              <a:t>PCO2 35 mmHg</a:t>
            </a:r>
            <a:r>
              <a:rPr lang="zh-CN" altLang="en-US" dirty="0"/>
              <a:t>、</a:t>
            </a:r>
            <a:r>
              <a:rPr lang="en-US" altLang="zh-CN" dirty="0"/>
              <a:t>OI 342</a:t>
            </a:r>
            <a:endParaRPr lang="en-US" altLang="zh-CN" dirty="0"/>
          </a:p>
          <a:p>
            <a:endParaRPr lang="en-US" altLang="zh-CN" dirty="0"/>
          </a:p>
          <a:p>
            <a:r>
              <a:rPr lang="zh-CN" altLang="en-US" dirty="0"/>
              <a:t>生化</a:t>
            </a:r>
            <a:r>
              <a:rPr lang="en-US" altLang="zh-CN" dirty="0"/>
              <a:t>:CREA 136 </a:t>
            </a:r>
            <a:r>
              <a:rPr lang="el-GR" altLang="zh-CN" dirty="0"/>
              <a:t>μ</a:t>
            </a:r>
            <a:r>
              <a:rPr lang="en-US" altLang="zh-CN" dirty="0"/>
              <a:t>mol/L</a:t>
            </a:r>
            <a:r>
              <a:rPr lang="zh-CN" altLang="en-US" dirty="0"/>
              <a:t>，肝功能正常</a:t>
            </a:r>
            <a:endParaRPr lang="en-US" altLang="zh-CN" dirty="0"/>
          </a:p>
          <a:p>
            <a:endParaRPr lang="en-US" altLang="zh-CN" dirty="0"/>
          </a:p>
          <a:p>
            <a:r>
              <a:rPr lang="en-US" altLang="zh-CN" dirty="0"/>
              <a:t>NT-</a:t>
            </a:r>
            <a:r>
              <a:rPr lang="en-US" altLang="zh-CN" dirty="0" err="1"/>
              <a:t>proBNP</a:t>
            </a:r>
            <a:r>
              <a:rPr lang="zh-CN" altLang="en-US" dirty="0"/>
              <a:t>、</a:t>
            </a:r>
            <a:r>
              <a:rPr lang="en-US" altLang="zh-CN" dirty="0"/>
              <a:t>PCT</a:t>
            </a:r>
            <a:r>
              <a:rPr lang="zh-CN" altLang="en-US" dirty="0"/>
              <a:t>、</a:t>
            </a:r>
            <a:r>
              <a:rPr lang="en-US" altLang="zh-CN" dirty="0"/>
              <a:t>D-D</a:t>
            </a:r>
            <a:r>
              <a:rPr lang="zh-CN" altLang="en-US" dirty="0"/>
              <a:t>、心肌酶、流感抗原</a:t>
            </a:r>
            <a:r>
              <a:rPr lang="en-US" altLang="zh-CN" dirty="0"/>
              <a:t>A/B</a:t>
            </a:r>
            <a:r>
              <a:rPr lang="zh-CN" altLang="en-US" dirty="0"/>
              <a:t>、新冠核酸未见异常</a:t>
            </a:r>
            <a:endParaRPr lang="zh-CN" alt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一般情况</a:t>
            </a:r>
            <a:endParaRPr lang="zh-CN" altLang="en-US" dirty="0"/>
          </a:p>
        </p:txBody>
      </p:sp>
      <p:sp>
        <p:nvSpPr>
          <p:cNvPr id="3" name="内容占位符 2"/>
          <p:cNvSpPr>
            <a:spLocks noGrp="1"/>
          </p:cNvSpPr>
          <p:nvPr>
            <p:ph idx="1"/>
          </p:nvPr>
        </p:nvSpPr>
        <p:spPr>
          <a:xfrm>
            <a:off x="1328057" y="1340769"/>
            <a:ext cx="10364146" cy="4525963"/>
          </a:xfrm>
        </p:spPr>
        <p:txBody>
          <a:bodyPr/>
          <a:lstStyle/>
          <a:p>
            <a:endParaRPr lang="en-US" altLang="zh-CN" dirty="0"/>
          </a:p>
          <a:p>
            <a:pPr marL="0" indent="0">
              <a:buNone/>
            </a:pPr>
            <a:r>
              <a:rPr lang="zh-CN" altLang="en-US" dirty="0"/>
              <a:t>患者梁</a:t>
            </a:r>
            <a:r>
              <a:rPr lang="en-US" altLang="zh-CN" dirty="0"/>
              <a:t>X</a:t>
            </a:r>
            <a:r>
              <a:rPr lang="zh-CN" altLang="en-US" dirty="0"/>
              <a:t>，男，</a:t>
            </a:r>
            <a:r>
              <a:rPr lang="en-US" altLang="zh-CN" dirty="0"/>
              <a:t>77</a:t>
            </a:r>
            <a:r>
              <a:rPr lang="zh-CN" altLang="en-US" dirty="0"/>
              <a:t>岁，</a:t>
            </a:r>
            <a:r>
              <a:rPr lang="en-US" altLang="zh-CN" dirty="0"/>
              <a:t> </a:t>
            </a:r>
            <a:r>
              <a:rPr lang="zh-CN" altLang="en-US" dirty="0"/>
              <a:t>于</a:t>
            </a:r>
            <a:r>
              <a:rPr lang="en-US" altLang="zh-CN" dirty="0"/>
              <a:t>2024-11-14</a:t>
            </a:r>
            <a:r>
              <a:rPr lang="zh-CN" altLang="en-US" dirty="0"/>
              <a:t>入院。</a:t>
            </a:r>
            <a:endParaRPr lang="en-US" altLang="zh-CN" dirty="0"/>
          </a:p>
          <a:p>
            <a:pPr marL="0" indent="0">
              <a:buNone/>
            </a:pPr>
            <a:endParaRPr lang="en-US" altLang="zh-CN" dirty="0"/>
          </a:p>
          <a:p>
            <a:pPr marL="0" indent="0">
              <a:buNone/>
            </a:pPr>
            <a:endParaRPr lang="en-US" altLang="zh-CN" dirty="0"/>
          </a:p>
          <a:p>
            <a:pPr marL="0" indent="0">
              <a:buNone/>
            </a:pPr>
            <a:r>
              <a:rPr lang="zh-CN" altLang="en-US" b="1" dirty="0"/>
              <a:t>主诉：</a:t>
            </a:r>
            <a:r>
              <a:rPr lang="zh-CN" altLang="en-US" dirty="0">
                <a:solidFill>
                  <a:srgbClr val="C00000"/>
                </a:solidFill>
              </a:rPr>
              <a:t>咯血</a:t>
            </a:r>
            <a:r>
              <a:rPr lang="en-US" altLang="zh-CN" dirty="0">
                <a:solidFill>
                  <a:srgbClr val="C00000"/>
                </a:solidFill>
              </a:rPr>
              <a:t>1</a:t>
            </a:r>
            <a:r>
              <a:rPr lang="zh-CN" altLang="en-US" dirty="0">
                <a:solidFill>
                  <a:srgbClr val="C00000"/>
                </a:solidFill>
              </a:rPr>
              <a:t>小时。</a:t>
            </a:r>
            <a:endParaRPr lang="zh-CN" altLang="en-US" dirty="0">
              <a:solidFill>
                <a:srgbClr val="C00000"/>
              </a:solidFil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放射相关性肺炎诊断标准</a:t>
            </a:r>
            <a:endParaRPr lang="zh-CN" altLang="en-US" dirty="0"/>
          </a:p>
        </p:txBody>
      </p:sp>
      <p:pic>
        <p:nvPicPr>
          <p:cNvPr id="2050" name="Picture 2"/>
          <p:cNvPicPr>
            <a:picLocks noGrp="1" noChangeAspect="1" noChangeArrowheads="1"/>
          </p:cNvPicPr>
          <p:nvPr>
            <p:ph idx="1"/>
          </p:nvPr>
        </p:nvPicPr>
        <p:blipFill>
          <a:blip r:embed="rId1"/>
          <a:srcRect l="6591" t="18376" r="11841" b="9638"/>
          <a:stretch>
            <a:fillRect/>
          </a:stretch>
        </p:blipFill>
        <p:spPr bwMode="auto">
          <a:xfrm>
            <a:off x="1160059" y="1023581"/>
            <a:ext cx="9498842" cy="4715375"/>
          </a:xfrm>
          <a:prstGeom prst="rect">
            <a:avLst/>
          </a:prstGeom>
          <a:noFill/>
          <a:ln w="9525">
            <a:noFill/>
            <a:miter lim="800000"/>
            <a:headEnd/>
            <a:tailEnd/>
          </a:ln>
          <a:effectLst/>
        </p:spPr>
      </p:pic>
      <p:sp>
        <p:nvSpPr>
          <p:cNvPr id="3" name="文本框 2"/>
          <p:cNvSpPr txBox="1"/>
          <p:nvPr/>
        </p:nvSpPr>
        <p:spPr>
          <a:xfrm>
            <a:off x="250371" y="6472095"/>
            <a:ext cx="9645650" cy="246221"/>
          </a:xfrm>
          <a:prstGeom prst="rect">
            <a:avLst/>
          </a:prstGeom>
          <a:noFill/>
        </p:spPr>
        <p:txBody>
          <a:bodyPr wrap="square" rtlCol="0" anchor="t">
            <a:spAutoFit/>
          </a:bodyPr>
          <a:lstStyle/>
          <a:p>
            <a:r>
              <a:rPr lang="en-US" altLang="zh-CN" sz="1000" dirty="0">
                <a:latin typeface="Arial" panose="020B0604020202020204" pitchFamily="34" charset="0"/>
                <a:ea typeface="微软雅黑" panose="020B0503020204020204" charset="-122"/>
                <a:sym typeface="+mn-ea"/>
              </a:rPr>
              <a:t>《</a:t>
            </a:r>
            <a:r>
              <a:rPr lang="zh-CN" altLang="en-US" sz="1000" dirty="0">
                <a:latin typeface="Arial" panose="020B0604020202020204" pitchFamily="34" charset="0"/>
                <a:ea typeface="微软雅黑" panose="020B0503020204020204" charset="-122"/>
                <a:sym typeface="+mn-ea"/>
              </a:rPr>
              <a:t>放射相关性肺炎中国专家诊治共识</a:t>
            </a:r>
            <a:r>
              <a:rPr lang="en-US" altLang="zh-CN" sz="1000" dirty="0">
                <a:latin typeface="Arial" panose="020B0604020202020204" pitchFamily="34" charset="0"/>
                <a:ea typeface="微软雅黑" panose="020B0503020204020204" charset="-122"/>
                <a:sym typeface="+mn-ea"/>
              </a:rPr>
              <a:t>》CHIN J CANCER PREV </a:t>
            </a:r>
            <a:r>
              <a:rPr lang="en-US" altLang="zh-CN" sz="1000" dirty="0" err="1">
                <a:latin typeface="Arial" panose="020B0604020202020204" pitchFamily="34" charset="0"/>
                <a:ea typeface="微软雅黑" panose="020B0503020204020204" charset="-122"/>
                <a:sym typeface="+mn-ea"/>
              </a:rPr>
              <a:t>TREATJuly</a:t>
            </a:r>
            <a:r>
              <a:rPr lang="en-US" altLang="zh-CN" sz="1000" dirty="0">
                <a:latin typeface="Arial" panose="020B0604020202020204" pitchFamily="34" charset="0"/>
                <a:ea typeface="微软雅黑" panose="020B0503020204020204" charset="-122"/>
                <a:sym typeface="+mn-ea"/>
              </a:rPr>
              <a:t> 2022,Vol.29 No.14	</a:t>
            </a:r>
            <a:endParaRPr lang="en-US" altLang="zh-CN" sz="1000" dirty="0">
              <a:latin typeface="Arial" panose="020B0604020202020204" pitchFamily="34" charset="0"/>
              <a:ea typeface="微软雅黑" panose="020B0503020204020204" charset="-122"/>
              <a:sym typeface="+mn-ea"/>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放射相关性肺炎分级及治疗</a:t>
            </a:r>
            <a:endParaRPr lang="zh-CN" altLang="en-US" dirty="0"/>
          </a:p>
        </p:txBody>
      </p:sp>
      <p:pic>
        <p:nvPicPr>
          <p:cNvPr id="3075" name="Picture 3"/>
          <p:cNvPicPr>
            <a:picLocks noGrp="1" noChangeAspect="1" noChangeArrowheads="1"/>
          </p:cNvPicPr>
          <p:nvPr>
            <p:ph idx="1"/>
          </p:nvPr>
        </p:nvPicPr>
        <p:blipFill>
          <a:blip r:embed="rId1"/>
          <a:srcRect t="5943"/>
          <a:stretch>
            <a:fillRect/>
          </a:stretch>
        </p:blipFill>
        <p:spPr bwMode="auto">
          <a:xfrm>
            <a:off x="883584" y="1023581"/>
            <a:ext cx="10976321" cy="5317116"/>
          </a:xfrm>
          <a:prstGeom prst="rect">
            <a:avLst/>
          </a:prstGeom>
          <a:noFill/>
          <a:ln w="9525">
            <a:noFill/>
            <a:miter lim="800000"/>
            <a:headEnd/>
            <a:tailEnd/>
          </a:ln>
          <a:effectLst/>
        </p:spPr>
      </p:pic>
      <p:sp>
        <p:nvSpPr>
          <p:cNvPr id="7" name="矩形 6"/>
          <p:cNvSpPr/>
          <p:nvPr/>
        </p:nvSpPr>
        <p:spPr>
          <a:xfrm>
            <a:off x="955342" y="2402006"/>
            <a:ext cx="5827595" cy="118735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endParaRPr>
          </a:p>
        </p:txBody>
      </p:sp>
      <p:sp>
        <p:nvSpPr>
          <p:cNvPr id="3" name="文本框 2"/>
          <p:cNvSpPr txBox="1"/>
          <p:nvPr/>
        </p:nvSpPr>
        <p:spPr>
          <a:xfrm>
            <a:off x="250371" y="6472095"/>
            <a:ext cx="9645650" cy="246221"/>
          </a:xfrm>
          <a:prstGeom prst="rect">
            <a:avLst/>
          </a:prstGeom>
          <a:noFill/>
        </p:spPr>
        <p:txBody>
          <a:bodyPr wrap="square" rtlCol="0" anchor="t">
            <a:spAutoFit/>
          </a:bodyPr>
          <a:lstStyle/>
          <a:p>
            <a:r>
              <a:rPr lang="en-US" altLang="zh-CN" sz="1000" dirty="0">
                <a:latin typeface="Arial" panose="020B0604020202020204" pitchFamily="34" charset="0"/>
                <a:ea typeface="微软雅黑" panose="020B0503020204020204" charset="-122"/>
                <a:sym typeface="+mn-ea"/>
              </a:rPr>
              <a:t>《</a:t>
            </a:r>
            <a:r>
              <a:rPr lang="zh-CN" altLang="en-US" sz="1000" dirty="0">
                <a:latin typeface="Arial" panose="020B0604020202020204" pitchFamily="34" charset="0"/>
                <a:ea typeface="微软雅黑" panose="020B0503020204020204" charset="-122"/>
                <a:sym typeface="+mn-ea"/>
              </a:rPr>
              <a:t>放射相关性肺炎中国专家诊治共识</a:t>
            </a:r>
            <a:r>
              <a:rPr lang="en-US" altLang="zh-CN" sz="1000" dirty="0">
                <a:latin typeface="Arial" panose="020B0604020202020204" pitchFamily="34" charset="0"/>
                <a:ea typeface="微软雅黑" panose="020B0503020204020204" charset="-122"/>
                <a:sym typeface="+mn-ea"/>
              </a:rPr>
              <a:t>》CHIN J CANCER PREV </a:t>
            </a:r>
            <a:r>
              <a:rPr lang="en-US" altLang="zh-CN" sz="1000" dirty="0" err="1">
                <a:latin typeface="Arial" panose="020B0604020202020204" pitchFamily="34" charset="0"/>
                <a:ea typeface="微软雅黑" panose="020B0503020204020204" charset="-122"/>
                <a:sym typeface="+mn-ea"/>
              </a:rPr>
              <a:t>TREATJuly</a:t>
            </a:r>
            <a:r>
              <a:rPr lang="en-US" altLang="zh-CN" sz="1000" dirty="0">
                <a:latin typeface="Arial" panose="020B0604020202020204" pitchFamily="34" charset="0"/>
                <a:ea typeface="微软雅黑" panose="020B0503020204020204" charset="-122"/>
                <a:sym typeface="+mn-ea"/>
              </a:rPr>
              <a:t> 2022,Vol.29 No.14	</a:t>
            </a:r>
            <a:endParaRPr lang="en-US" altLang="zh-CN" sz="1000" dirty="0">
              <a:latin typeface="Arial" panose="020B0604020202020204" pitchFamily="34" charset="0"/>
              <a:ea typeface="微软雅黑" panose="020B0503020204020204" charset="-122"/>
              <a:sym typeface="+mn-ea"/>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放射相关性肺炎治疗</a:t>
            </a:r>
            <a:endParaRPr lang="zh-CN" altLang="en-US" dirty="0"/>
          </a:p>
        </p:txBody>
      </p:sp>
      <p:sp>
        <p:nvSpPr>
          <p:cNvPr id="3" name="内容占位符 2"/>
          <p:cNvSpPr>
            <a:spLocks noGrp="1"/>
          </p:cNvSpPr>
          <p:nvPr>
            <p:ph idx="1"/>
          </p:nvPr>
        </p:nvSpPr>
        <p:spPr/>
        <p:txBody>
          <a:bodyPr/>
          <a:lstStyle/>
          <a:p>
            <a:pPr>
              <a:buFont typeface="Wingdings" panose="05000000000000000000" pitchFamily="2" charset="2"/>
              <a:buChar char="p"/>
            </a:pPr>
            <a:r>
              <a:rPr lang="zh-CN" altLang="en-US" dirty="0"/>
              <a:t>拉氧头孢 </a:t>
            </a:r>
            <a:r>
              <a:rPr lang="en-US" altLang="zh-CN" dirty="0"/>
              <a:t>2g bid</a:t>
            </a:r>
            <a:endParaRPr lang="en-US" altLang="zh-CN" dirty="0"/>
          </a:p>
          <a:p>
            <a:pPr>
              <a:buFont typeface="Wingdings" panose="05000000000000000000" pitchFamily="2" charset="2"/>
              <a:buChar char="p"/>
            </a:pPr>
            <a:endParaRPr lang="en-US" altLang="zh-CN" dirty="0"/>
          </a:p>
          <a:p>
            <a:pPr>
              <a:buFont typeface="Wingdings" panose="05000000000000000000" pitchFamily="2" charset="2"/>
              <a:buChar char="p"/>
            </a:pPr>
            <a:r>
              <a:rPr lang="zh-CN" altLang="en-US" dirty="0"/>
              <a:t>乙酰半胱氨酸 </a:t>
            </a:r>
            <a:r>
              <a:rPr lang="en-US" altLang="zh-CN" dirty="0"/>
              <a:t>0.6g bid</a:t>
            </a:r>
            <a:endParaRPr lang="en-US" altLang="zh-CN" dirty="0"/>
          </a:p>
          <a:p>
            <a:pPr>
              <a:buFont typeface="Wingdings" panose="05000000000000000000" pitchFamily="2" charset="2"/>
              <a:buChar char="p"/>
            </a:pPr>
            <a:endParaRPr lang="en-US" altLang="zh-CN" dirty="0"/>
          </a:p>
          <a:p>
            <a:pPr>
              <a:buFont typeface="Wingdings" panose="05000000000000000000" pitchFamily="2" charset="2"/>
              <a:buChar char="p"/>
            </a:pPr>
            <a:r>
              <a:rPr lang="zh-CN" altLang="en-US" dirty="0"/>
              <a:t>泼尼松</a:t>
            </a:r>
            <a:r>
              <a:rPr lang="en-US" altLang="zh-CN" dirty="0"/>
              <a:t>30mg </a:t>
            </a:r>
            <a:r>
              <a:rPr lang="en-US" altLang="zh-CN" dirty="0" err="1"/>
              <a:t>qd</a:t>
            </a:r>
            <a:r>
              <a:rPr lang="en-US" altLang="zh-CN" dirty="0"/>
              <a:t> 2</a:t>
            </a:r>
            <a:r>
              <a:rPr lang="zh-CN" altLang="en-US" dirty="0"/>
              <a:t>周后逐渐减量，共服用约</a:t>
            </a:r>
            <a:r>
              <a:rPr lang="en-US" altLang="zh-CN" dirty="0"/>
              <a:t>10</a:t>
            </a:r>
            <a:r>
              <a:rPr lang="zh-CN" altLang="en-US" dirty="0"/>
              <a:t>周</a:t>
            </a:r>
            <a:endParaRPr lang="en-US" altLang="zh-CN" dirty="0"/>
          </a:p>
          <a:p>
            <a:pPr>
              <a:buFont typeface="Wingdings" panose="05000000000000000000" pitchFamily="2" charset="2"/>
              <a:buChar char="p"/>
            </a:pPr>
            <a:endParaRPr lang="zh-CN" alt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门诊随访评估</a:t>
            </a:r>
            <a:endParaRPr lang="zh-CN" altLang="en-US" dirty="0"/>
          </a:p>
        </p:txBody>
      </p:sp>
      <p:pic>
        <p:nvPicPr>
          <p:cNvPr id="4101" name="Picture 5"/>
          <p:cNvPicPr>
            <a:picLocks noGrp="1" noChangeAspect="1" noChangeArrowheads="1"/>
          </p:cNvPicPr>
          <p:nvPr>
            <p:ph idx="1"/>
          </p:nvPr>
        </p:nvPicPr>
        <p:blipFill>
          <a:blip r:embed="rId1"/>
          <a:srcRect l="830" t="4723" r="2020"/>
          <a:stretch>
            <a:fillRect/>
          </a:stretch>
        </p:blipFill>
        <p:spPr bwMode="auto">
          <a:xfrm>
            <a:off x="1132765" y="1037230"/>
            <a:ext cx="8325134" cy="5154984"/>
          </a:xfrm>
          <a:prstGeom prst="rect">
            <a:avLst/>
          </a:prstGeom>
          <a:noFill/>
          <a:ln w="9525">
            <a:noFill/>
            <a:miter lim="800000"/>
            <a:headEnd/>
            <a:tailEnd/>
          </a:ln>
          <a:effectLst/>
        </p:spPr>
      </p:pic>
      <p:sp>
        <p:nvSpPr>
          <p:cNvPr id="14" name="圆角矩形 13"/>
          <p:cNvSpPr/>
          <p:nvPr/>
        </p:nvSpPr>
        <p:spPr>
          <a:xfrm>
            <a:off x="4128449" y="1084996"/>
            <a:ext cx="798394" cy="37531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2-28</a:t>
            </a:r>
            <a:endParaRPr lang="zh-CN" altLang="en-US" sz="2000" dirty="0"/>
          </a:p>
        </p:txBody>
      </p:sp>
      <p:sp>
        <p:nvSpPr>
          <p:cNvPr id="15" name="圆角矩形 14"/>
          <p:cNvSpPr/>
          <p:nvPr/>
        </p:nvSpPr>
        <p:spPr>
          <a:xfrm>
            <a:off x="6196085" y="1082723"/>
            <a:ext cx="750626" cy="36394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3-11</a:t>
            </a:r>
            <a:endParaRPr lang="zh-CN" altLang="en-US" sz="2000" dirty="0"/>
          </a:p>
        </p:txBody>
      </p:sp>
      <p:sp>
        <p:nvSpPr>
          <p:cNvPr id="16" name="圆角矩形 15"/>
          <p:cNvSpPr/>
          <p:nvPr/>
        </p:nvSpPr>
        <p:spPr>
          <a:xfrm>
            <a:off x="4137547" y="3714465"/>
            <a:ext cx="761999" cy="3662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4-7</a:t>
            </a:r>
            <a:endParaRPr lang="zh-CN" altLang="en-US" sz="2000" dirty="0"/>
          </a:p>
        </p:txBody>
      </p:sp>
      <p:sp>
        <p:nvSpPr>
          <p:cNvPr id="17" name="圆角矩形 16"/>
          <p:cNvSpPr/>
          <p:nvPr/>
        </p:nvSpPr>
        <p:spPr>
          <a:xfrm>
            <a:off x="6264322" y="3657599"/>
            <a:ext cx="736979" cy="38213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5-8</a:t>
            </a:r>
            <a:endParaRPr lang="zh-CN" altLang="en-US" sz="2000"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5-5-8 </a:t>
            </a:r>
            <a:r>
              <a:rPr lang="zh-CN" altLang="en-US" dirty="0"/>
              <a:t>第三次住院</a:t>
            </a:r>
            <a:endParaRPr lang="zh-CN" altLang="en-US" dirty="0"/>
          </a:p>
        </p:txBody>
      </p:sp>
      <p:sp>
        <p:nvSpPr>
          <p:cNvPr id="3" name="内容占位符 2"/>
          <p:cNvSpPr>
            <a:spLocks noGrp="1"/>
          </p:cNvSpPr>
          <p:nvPr>
            <p:ph idx="1"/>
          </p:nvPr>
        </p:nvSpPr>
        <p:spPr/>
        <p:txBody>
          <a:bodyPr/>
          <a:lstStyle/>
          <a:p>
            <a:endParaRPr lang="en-US" altLang="zh-CN" b="1" dirty="0"/>
          </a:p>
          <a:p>
            <a:endParaRPr lang="en-US" altLang="zh-CN" b="1" dirty="0"/>
          </a:p>
          <a:p>
            <a:r>
              <a:rPr lang="zh-CN" altLang="en-US" b="1" dirty="0"/>
              <a:t>主诉：确诊肺癌</a:t>
            </a:r>
            <a:r>
              <a:rPr lang="en-US" altLang="zh-CN" b="1" dirty="0"/>
              <a:t>5</a:t>
            </a:r>
            <a:r>
              <a:rPr lang="zh-CN" altLang="en-US" b="1" dirty="0"/>
              <a:t>月余，返院治疗。</a:t>
            </a:r>
            <a:endParaRPr lang="zh-CN" altLang="en-US"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4 CSCO</a:t>
            </a:r>
            <a:r>
              <a:rPr lang="zh-CN" altLang="en-US" dirty="0"/>
              <a:t>指南</a:t>
            </a:r>
            <a:endParaRPr lang="zh-CN" altLang="en-US" dirty="0"/>
          </a:p>
        </p:txBody>
      </p:sp>
      <p:pic>
        <p:nvPicPr>
          <p:cNvPr id="5122" name="Picture 2"/>
          <p:cNvPicPr>
            <a:picLocks noGrp="1" noChangeAspect="1" noChangeArrowheads="1"/>
          </p:cNvPicPr>
          <p:nvPr>
            <p:ph idx="1"/>
          </p:nvPr>
        </p:nvPicPr>
        <p:blipFill>
          <a:blip r:embed="rId1"/>
          <a:srcRect/>
          <a:stretch>
            <a:fillRect/>
          </a:stretch>
        </p:blipFill>
        <p:spPr bwMode="auto">
          <a:xfrm>
            <a:off x="1444737" y="1136720"/>
            <a:ext cx="7944922" cy="5057185"/>
          </a:xfrm>
          <a:prstGeom prst="rect">
            <a:avLst/>
          </a:prstGeom>
          <a:noFill/>
          <a:ln w="9525">
            <a:noFill/>
            <a:miter lim="800000"/>
            <a:headEnd/>
            <a:tailEnd/>
          </a:ln>
          <a:effectLst/>
        </p:spPr>
      </p:pic>
      <p:sp>
        <p:nvSpPr>
          <p:cNvPr id="5" name="矩形 4"/>
          <p:cNvSpPr/>
          <p:nvPr/>
        </p:nvSpPr>
        <p:spPr>
          <a:xfrm>
            <a:off x="3562066" y="1719943"/>
            <a:ext cx="3470106" cy="110831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endParaRPr>
          </a:p>
        </p:txBody>
      </p:sp>
      <p:sp>
        <p:nvSpPr>
          <p:cNvPr id="3" name="文本框 2"/>
          <p:cNvSpPr txBox="1"/>
          <p:nvPr/>
        </p:nvSpPr>
        <p:spPr>
          <a:xfrm>
            <a:off x="217714" y="6472095"/>
            <a:ext cx="9645650" cy="246221"/>
          </a:xfrm>
          <a:prstGeom prst="rect">
            <a:avLst/>
          </a:prstGeom>
          <a:noFill/>
        </p:spPr>
        <p:txBody>
          <a:bodyPr wrap="square" rtlCol="0" anchor="t">
            <a:spAutoFit/>
          </a:bodyPr>
          <a:lstStyle/>
          <a:p>
            <a:r>
              <a:rPr lang="zh-CN" altLang="en-US" sz="1000" dirty="0">
                <a:latin typeface="Arial" panose="020B0604020202020204" pitchFamily="34" charset="0"/>
                <a:ea typeface="微软雅黑" panose="020B0503020204020204" charset="-122"/>
                <a:sym typeface="+mn-ea"/>
              </a:rPr>
              <a:t>中国临床肿瘤学会指南工作委员会</a:t>
            </a:r>
            <a:r>
              <a:rPr lang="en-US" altLang="zh-CN" sz="1000" dirty="0">
                <a:latin typeface="Arial" panose="020B0604020202020204" pitchFamily="34" charset="0"/>
                <a:ea typeface="微软雅黑" panose="020B0503020204020204" charset="-122"/>
                <a:sym typeface="+mn-ea"/>
              </a:rPr>
              <a:t>. </a:t>
            </a:r>
            <a:r>
              <a:rPr lang="zh-CN" altLang="en-US" sz="1000" dirty="0">
                <a:latin typeface="Arial" panose="020B0604020202020204" pitchFamily="34" charset="0"/>
                <a:ea typeface="微软雅黑" panose="020B0503020204020204" charset="-122"/>
                <a:sym typeface="+mn-ea"/>
              </a:rPr>
              <a:t>中国临床肿瘤学会</a:t>
            </a:r>
            <a:r>
              <a:rPr lang="en-US" altLang="zh-CN" sz="1000" dirty="0">
                <a:latin typeface="Arial" panose="020B0604020202020204" pitchFamily="34" charset="0"/>
                <a:ea typeface="微软雅黑" panose="020B0503020204020204" charset="-122"/>
                <a:sym typeface="+mn-ea"/>
              </a:rPr>
              <a:t>(CSCO)</a:t>
            </a:r>
            <a:r>
              <a:rPr lang="zh-CN" altLang="en-US" sz="1000" dirty="0">
                <a:latin typeface="Arial" panose="020B0604020202020204" pitchFamily="34" charset="0"/>
                <a:ea typeface="微软雅黑" panose="020B0503020204020204" charset="-122"/>
                <a:sym typeface="+mn-ea"/>
              </a:rPr>
              <a:t>非小细胞肺癌诊疗指南</a:t>
            </a:r>
            <a:r>
              <a:rPr lang="en-US" altLang="zh-CN" sz="1000" dirty="0">
                <a:latin typeface="Arial" panose="020B0604020202020204" pitchFamily="34" charset="0"/>
                <a:ea typeface="微软雅黑" panose="020B0503020204020204" charset="-122"/>
                <a:sym typeface="+mn-ea"/>
              </a:rPr>
              <a:t>. </a:t>
            </a:r>
            <a:r>
              <a:rPr lang="zh-CN" altLang="en-US" sz="1000" dirty="0">
                <a:latin typeface="Arial" panose="020B0604020202020204" pitchFamily="34" charset="0"/>
                <a:ea typeface="微软雅黑" panose="020B0503020204020204" charset="-122"/>
                <a:sym typeface="+mn-ea"/>
              </a:rPr>
              <a:t>北京</a:t>
            </a:r>
            <a:r>
              <a:rPr lang="en-US" altLang="zh-CN" sz="1000" dirty="0">
                <a:latin typeface="Arial" panose="020B0604020202020204" pitchFamily="34" charset="0"/>
                <a:ea typeface="微软雅黑" panose="020B0503020204020204" charset="-122"/>
                <a:sym typeface="+mn-ea"/>
              </a:rPr>
              <a:t>:</a:t>
            </a:r>
            <a:r>
              <a:rPr lang="zh-CN" altLang="en-US" sz="1000" dirty="0">
                <a:latin typeface="Arial" panose="020B0604020202020204" pitchFamily="34" charset="0"/>
                <a:ea typeface="微软雅黑" panose="020B0503020204020204" charset="-122"/>
                <a:sym typeface="+mn-ea"/>
              </a:rPr>
              <a:t>人民卫生出版社</a:t>
            </a:r>
            <a:r>
              <a:rPr lang="en-US" altLang="zh-CN" sz="1000" dirty="0">
                <a:latin typeface="Arial" panose="020B0604020202020204" pitchFamily="34" charset="0"/>
                <a:ea typeface="微软雅黑" panose="020B0503020204020204" charset="-122"/>
                <a:sym typeface="+mn-ea"/>
              </a:rPr>
              <a:t>.2024</a:t>
            </a:r>
            <a:endParaRPr lang="en-US" altLang="zh-CN" sz="1000" dirty="0">
              <a:latin typeface="Arial" panose="020B0604020202020204" pitchFamily="34" charset="0"/>
              <a:ea typeface="微软雅黑" panose="020B0503020204020204" charset="-122"/>
              <a:sym typeface="+mn-ea"/>
            </a:endParaRPr>
          </a:p>
        </p:txBody>
      </p:sp>
      <p:sp>
        <p:nvSpPr>
          <p:cNvPr id="4" name="矩形 3"/>
          <p:cNvSpPr/>
          <p:nvPr/>
        </p:nvSpPr>
        <p:spPr>
          <a:xfrm>
            <a:off x="7151914" y="1676821"/>
            <a:ext cx="2237745" cy="110891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治疗</a:t>
            </a:r>
            <a:endParaRPr lang="zh-CN" altLang="en-US" dirty="0"/>
          </a:p>
        </p:txBody>
      </p:sp>
      <p:sp>
        <p:nvSpPr>
          <p:cNvPr id="3" name="内容占位符 2"/>
          <p:cNvSpPr>
            <a:spLocks noGrp="1"/>
          </p:cNvSpPr>
          <p:nvPr>
            <p:ph idx="1"/>
          </p:nvPr>
        </p:nvSpPr>
        <p:spPr/>
        <p:txBody>
          <a:bodyPr/>
          <a:lstStyle/>
          <a:p>
            <a:pPr>
              <a:buNone/>
            </a:pPr>
            <a:endParaRPr lang="en-US" altLang="zh-CN" dirty="0"/>
          </a:p>
          <a:p>
            <a:pPr>
              <a:buNone/>
            </a:pPr>
            <a:r>
              <a:rPr lang="en-US" altLang="zh-CN" dirty="0"/>
              <a:t>2025-5-12</a:t>
            </a:r>
            <a:r>
              <a:rPr lang="zh-CN" altLang="en-US" dirty="0"/>
              <a:t>  第一疗程</a:t>
            </a:r>
            <a:r>
              <a:rPr lang="en-US" altLang="zh-CN" dirty="0"/>
              <a:t>  </a:t>
            </a:r>
            <a:r>
              <a:rPr lang="zh-CN" altLang="en-US" dirty="0"/>
              <a:t>替雷利珠单抗</a:t>
            </a:r>
            <a:r>
              <a:rPr lang="en-US" altLang="zh-CN" dirty="0"/>
              <a:t>200mg </a:t>
            </a:r>
            <a:r>
              <a:rPr lang="zh-CN" altLang="en-US" dirty="0"/>
              <a:t>免疫治疗</a:t>
            </a:r>
            <a:endParaRPr lang="en-US" altLang="zh-CN" dirty="0"/>
          </a:p>
          <a:p>
            <a:pPr>
              <a:buNone/>
            </a:pPr>
            <a:endParaRPr lang="en-US" altLang="zh-CN"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5-05-27  </a:t>
            </a:r>
            <a:r>
              <a:rPr lang="zh-CN" altLang="en-US" dirty="0"/>
              <a:t>第四次住院</a:t>
            </a:r>
            <a:r>
              <a:rPr lang="en-US" altLang="zh-CN" dirty="0"/>
              <a:t> </a:t>
            </a:r>
            <a:endParaRPr lang="zh-CN" altLang="en-US" dirty="0"/>
          </a:p>
        </p:txBody>
      </p:sp>
      <p:sp>
        <p:nvSpPr>
          <p:cNvPr id="3" name="内容占位符 2"/>
          <p:cNvSpPr>
            <a:spLocks noGrp="1"/>
          </p:cNvSpPr>
          <p:nvPr>
            <p:ph idx="1"/>
          </p:nvPr>
        </p:nvSpPr>
        <p:spPr>
          <a:xfrm>
            <a:off x="1469571" y="1340769"/>
            <a:ext cx="10222632" cy="4525963"/>
          </a:xfrm>
        </p:spPr>
        <p:txBody>
          <a:bodyPr/>
          <a:lstStyle/>
          <a:p>
            <a:pPr>
              <a:buNone/>
            </a:pPr>
            <a:endParaRPr lang="en-US" altLang="zh-CN" b="1" dirty="0"/>
          </a:p>
          <a:p>
            <a:pPr>
              <a:buNone/>
            </a:pPr>
            <a:endParaRPr lang="en-US" altLang="zh-CN" b="1" dirty="0"/>
          </a:p>
          <a:p>
            <a:pPr>
              <a:buNone/>
            </a:pPr>
            <a:endParaRPr lang="en-US" altLang="zh-CN" b="1" dirty="0"/>
          </a:p>
          <a:p>
            <a:pPr>
              <a:buNone/>
            </a:pPr>
            <a:r>
              <a:rPr lang="zh-CN" altLang="en-US" b="1" dirty="0"/>
              <a:t>主诉：确诊肺癌</a:t>
            </a:r>
            <a:r>
              <a:rPr lang="en-US" altLang="zh-CN" b="1" dirty="0"/>
              <a:t>6</a:t>
            </a:r>
            <a:r>
              <a:rPr lang="zh-CN" altLang="en-US" b="1" dirty="0"/>
              <a:t>月余，咳嗽、咳痰伴气促</a:t>
            </a:r>
            <a:r>
              <a:rPr lang="en-US" altLang="zh-CN" b="1" dirty="0"/>
              <a:t>1</a:t>
            </a:r>
            <a:r>
              <a:rPr lang="zh-CN" altLang="en-US" b="1" dirty="0"/>
              <a:t>周。</a:t>
            </a:r>
            <a:endParaRPr lang="zh-CN" alt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5-5-27            VS        2025-5-8</a:t>
            </a:r>
            <a:endParaRPr lang="zh-CN" altLang="en-US" dirty="0"/>
          </a:p>
        </p:txBody>
      </p:sp>
      <p:pic>
        <p:nvPicPr>
          <p:cNvPr id="5123" name="Picture 3"/>
          <p:cNvPicPr>
            <a:picLocks noGrp="1" noChangeAspect="1" noChangeArrowheads="1"/>
          </p:cNvPicPr>
          <p:nvPr>
            <p:ph idx="1"/>
          </p:nvPr>
        </p:nvPicPr>
        <p:blipFill>
          <a:blip r:embed="rId1"/>
          <a:srcRect/>
          <a:stretch>
            <a:fillRect/>
          </a:stretch>
        </p:blipFill>
        <p:spPr bwMode="auto">
          <a:xfrm>
            <a:off x="719138" y="1771336"/>
            <a:ext cx="10972800" cy="3666166"/>
          </a:xfrm>
          <a:prstGeom prst="rect">
            <a:avLst/>
          </a:prstGeom>
          <a:noFill/>
          <a:ln w="9525">
            <a:noFill/>
            <a:miter lim="800000"/>
            <a:headEnd/>
            <a:tailEnd/>
          </a:ln>
          <a:effectLst/>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p:txBody>
          <a:bodyPr/>
          <a:lstStyle/>
          <a:p>
            <a:r>
              <a:rPr lang="en-US" altLang="zh-CN" dirty="0"/>
              <a:t>2025-5-27            VS        2025-5-8</a:t>
            </a:r>
            <a:endParaRPr lang="zh-CN" altLang="en-US" dirty="0"/>
          </a:p>
        </p:txBody>
      </p:sp>
      <p:pic>
        <p:nvPicPr>
          <p:cNvPr id="6146" name="Picture 2"/>
          <p:cNvPicPr>
            <a:picLocks noGrp="1" noChangeAspect="1" noChangeArrowheads="1"/>
          </p:cNvPicPr>
          <p:nvPr>
            <p:ph idx="1"/>
          </p:nvPr>
        </p:nvPicPr>
        <p:blipFill>
          <a:blip r:embed="rId1"/>
          <a:srcRect/>
          <a:stretch>
            <a:fillRect/>
          </a:stretch>
        </p:blipFill>
        <p:spPr bwMode="auto">
          <a:xfrm>
            <a:off x="719138" y="1559877"/>
            <a:ext cx="10972800" cy="4089083"/>
          </a:xfrm>
          <a:prstGeom prst="rect">
            <a:avLst/>
          </a:prstGeom>
          <a:noFill/>
          <a:ln w="9525">
            <a:noFill/>
            <a:miter lim="800000"/>
            <a:headEnd/>
            <a:tailEnd/>
          </a:ln>
          <a:effec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病史</a:t>
            </a:r>
            <a:endParaRPr lang="zh-CN" altLang="en-US" dirty="0"/>
          </a:p>
        </p:txBody>
      </p:sp>
      <p:sp>
        <p:nvSpPr>
          <p:cNvPr id="3" name="内容占位符 2"/>
          <p:cNvSpPr>
            <a:spLocks noGrp="1"/>
          </p:cNvSpPr>
          <p:nvPr>
            <p:ph idx="1"/>
          </p:nvPr>
        </p:nvSpPr>
        <p:spPr/>
        <p:txBody>
          <a:bodyPr>
            <a:normAutofit/>
          </a:bodyPr>
          <a:lstStyle/>
          <a:p>
            <a:pPr>
              <a:buNone/>
            </a:pPr>
            <a:r>
              <a:rPr lang="zh-CN" altLang="en-US" b="1" dirty="0"/>
              <a:t> </a:t>
            </a:r>
            <a:r>
              <a:rPr lang="en-US" altLang="zh-CN" b="1" dirty="0"/>
              <a:t> </a:t>
            </a:r>
            <a:r>
              <a:rPr lang="zh-CN" altLang="en-US" b="1" dirty="0"/>
              <a:t>现病史：</a:t>
            </a:r>
            <a:r>
              <a:rPr lang="zh-CN" altLang="en-US" dirty="0"/>
              <a:t>患者于</a:t>
            </a:r>
            <a:r>
              <a:rPr lang="en-US" altLang="zh-CN" dirty="0"/>
              <a:t>1</a:t>
            </a:r>
            <a:r>
              <a:rPr lang="zh-CN" altLang="en-US" dirty="0"/>
              <a:t>小时前出现咯血，色鲜红，共咯血</a:t>
            </a:r>
            <a:r>
              <a:rPr lang="en-US" altLang="zh-CN" dirty="0"/>
              <a:t>5</a:t>
            </a:r>
            <a:r>
              <a:rPr lang="zh-CN" altLang="en-US" dirty="0"/>
              <a:t>次，每次量约</a:t>
            </a:r>
            <a:r>
              <a:rPr lang="en-US" altLang="zh-CN" dirty="0"/>
              <a:t>10-30ml</a:t>
            </a:r>
            <a:r>
              <a:rPr lang="zh-CN" altLang="en-US" dirty="0"/>
              <a:t>不等，伴咳嗽，偶有流涕，无畏寒、发热，无胸痛、胸痛，无鼻衄、牙龈出血，无恶心、呕吐，至我院急诊就诊，胸部</a:t>
            </a:r>
            <a:r>
              <a:rPr lang="en-US" altLang="zh-CN" dirty="0"/>
              <a:t>CT</a:t>
            </a:r>
            <a:r>
              <a:rPr lang="zh-CN" altLang="en-US" dirty="0"/>
              <a:t>平扫提示肺占位，现为进一步诊治收入院。</a:t>
            </a:r>
            <a:endParaRPr lang="en-US" altLang="zh-CN" dirty="0"/>
          </a:p>
          <a:p>
            <a:pPr>
              <a:buNone/>
            </a:pPr>
            <a:endParaRPr lang="en-US" altLang="zh-CN" dirty="0"/>
          </a:p>
          <a:p>
            <a:pPr>
              <a:buNone/>
            </a:pPr>
            <a:r>
              <a:rPr lang="zh-CN" altLang="en-US" b="1" dirty="0"/>
              <a:t>  既往史：</a:t>
            </a:r>
            <a:r>
              <a:rPr lang="en-US" altLang="zh-CN" dirty="0"/>
              <a:t>20</a:t>
            </a:r>
            <a:r>
              <a:rPr lang="zh-CN" altLang="en-US" dirty="0"/>
              <a:t>余年前外院诊断</a:t>
            </a:r>
            <a:r>
              <a:rPr lang="en-US" altLang="zh-CN" dirty="0"/>
              <a:t>“</a:t>
            </a:r>
            <a:r>
              <a:rPr lang="zh-CN" altLang="en-US" dirty="0"/>
              <a:t>口腔癌</a:t>
            </a:r>
            <a:r>
              <a:rPr lang="en-US" altLang="zh-CN" dirty="0"/>
              <a:t>”</a:t>
            </a:r>
            <a:r>
              <a:rPr lang="zh-CN" altLang="en-US" dirty="0"/>
              <a:t>，行手术及放疗治疗（具体不详）；高血压病史。</a:t>
            </a:r>
            <a:endParaRPr lang="en-US" altLang="zh-CN" dirty="0"/>
          </a:p>
          <a:p>
            <a:pPr>
              <a:buNone/>
            </a:pPr>
            <a:endParaRPr lang="en-US" altLang="zh-CN" dirty="0"/>
          </a:p>
          <a:p>
            <a:pPr>
              <a:buNone/>
            </a:pPr>
            <a:r>
              <a:rPr lang="zh-CN" altLang="en-US" b="1" dirty="0"/>
              <a:t>  个人史、家族史：无特殊</a:t>
            </a:r>
            <a:endParaRPr lang="en-US" altLang="zh-CN" dirty="0"/>
          </a:p>
          <a:p>
            <a:pPr>
              <a:buNone/>
            </a:pPr>
            <a:endParaRPr lang="en-US" altLang="zh-CN" dirty="0"/>
          </a:p>
          <a:p>
            <a:endParaRPr lang="zh-CN" alt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p:txBody>
          <a:bodyPr/>
          <a:lstStyle/>
          <a:p>
            <a:r>
              <a:rPr lang="en-US" altLang="zh-CN" dirty="0"/>
              <a:t>2025-5-27            VS        2025-5-8</a:t>
            </a:r>
            <a:endParaRPr lang="zh-CN" altLang="en-US" dirty="0"/>
          </a:p>
        </p:txBody>
      </p:sp>
      <p:pic>
        <p:nvPicPr>
          <p:cNvPr id="7170" name="Picture 2"/>
          <p:cNvPicPr>
            <a:picLocks noGrp="1" noChangeAspect="1" noChangeArrowheads="1"/>
          </p:cNvPicPr>
          <p:nvPr>
            <p:ph idx="1"/>
          </p:nvPr>
        </p:nvPicPr>
        <p:blipFill>
          <a:blip r:embed="rId1"/>
          <a:srcRect/>
          <a:stretch>
            <a:fillRect/>
          </a:stretch>
        </p:blipFill>
        <p:spPr bwMode="auto">
          <a:xfrm>
            <a:off x="719138" y="1485226"/>
            <a:ext cx="10972800" cy="4238386"/>
          </a:xfrm>
          <a:prstGeom prst="rect">
            <a:avLst/>
          </a:prstGeom>
          <a:noFill/>
          <a:ln w="9525">
            <a:noFill/>
            <a:miter lim="800000"/>
            <a:headEnd/>
            <a:tailEnd/>
          </a:ln>
          <a:effec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p:txBody>
          <a:bodyPr/>
          <a:lstStyle/>
          <a:p>
            <a:r>
              <a:rPr lang="en-US" altLang="zh-CN" dirty="0"/>
              <a:t>2025-5-27            VS        2025-5-8</a:t>
            </a:r>
            <a:endParaRPr lang="zh-CN" altLang="en-US" dirty="0"/>
          </a:p>
        </p:txBody>
      </p:sp>
      <p:pic>
        <p:nvPicPr>
          <p:cNvPr id="8194" name="Picture 2"/>
          <p:cNvPicPr>
            <a:picLocks noGrp="1" noChangeAspect="1" noChangeArrowheads="1"/>
          </p:cNvPicPr>
          <p:nvPr>
            <p:ph idx="1"/>
          </p:nvPr>
        </p:nvPicPr>
        <p:blipFill>
          <a:blip r:embed="rId1"/>
          <a:srcRect/>
          <a:stretch>
            <a:fillRect/>
          </a:stretch>
        </p:blipFill>
        <p:spPr bwMode="auto">
          <a:xfrm>
            <a:off x="719138" y="1509837"/>
            <a:ext cx="10972800" cy="4189164"/>
          </a:xfrm>
          <a:prstGeom prst="rect">
            <a:avLst/>
          </a:prstGeom>
          <a:noFill/>
          <a:ln w="9525">
            <a:noFill/>
            <a:miter lim="800000"/>
            <a:headEnd/>
            <a:tailEnd/>
          </a:ln>
          <a:effectLst/>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辅助检查</a:t>
            </a:r>
            <a:endParaRPr lang="zh-CN" altLang="en-US" dirty="0"/>
          </a:p>
        </p:txBody>
      </p:sp>
      <p:sp>
        <p:nvSpPr>
          <p:cNvPr id="3" name="内容占位符 2"/>
          <p:cNvSpPr>
            <a:spLocks noGrp="1"/>
          </p:cNvSpPr>
          <p:nvPr>
            <p:ph idx="1"/>
          </p:nvPr>
        </p:nvSpPr>
        <p:spPr/>
        <p:txBody>
          <a:bodyPr>
            <a:normAutofit/>
          </a:bodyPr>
          <a:lstStyle/>
          <a:p>
            <a:pPr>
              <a:buNone/>
            </a:pPr>
            <a:r>
              <a:rPr lang="zh-CN" altLang="en-US" sz="2000" dirty="0"/>
              <a:t>血常规</a:t>
            </a:r>
            <a:r>
              <a:rPr lang="en-US" altLang="zh-CN" sz="2000" dirty="0"/>
              <a:t>:</a:t>
            </a:r>
            <a:r>
              <a:rPr lang="en-US" altLang="zh-CN" sz="2000" dirty="0">
                <a:solidFill>
                  <a:srgbClr val="0070C0"/>
                </a:solidFill>
              </a:rPr>
              <a:t>WBC 9.00*10^9/L</a:t>
            </a:r>
            <a:r>
              <a:rPr lang="en-US" altLang="zh-CN" sz="2000" dirty="0"/>
              <a:t>,</a:t>
            </a:r>
            <a:r>
              <a:rPr lang="zh-CN" altLang="en-US" sz="2000" dirty="0"/>
              <a:t> </a:t>
            </a:r>
            <a:r>
              <a:rPr lang="en-US" altLang="zh-CN" sz="2000" dirty="0" err="1">
                <a:solidFill>
                  <a:srgbClr val="0070C0"/>
                </a:solidFill>
              </a:rPr>
              <a:t>Neut</a:t>
            </a:r>
            <a:r>
              <a:rPr lang="en-US" altLang="zh-CN" sz="2000" dirty="0">
                <a:solidFill>
                  <a:srgbClr val="0070C0"/>
                </a:solidFill>
              </a:rPr>
              <a:t>% 81.20 %</a:t>
            </a:r>
            <a:endParaRPr lang="en-US" altLang="zh-CN" sz="2000" dirty="0">
              <a:solidFill>
                <a:srgbClr val="0070C0"/>
              </a:solidFill>
            </a:endParaRPr>
          </a:p>
          <a:p>
            <a:pPr>
              <a:buNone/>
            </a:pPr>
            <a:endParaRPr lang="en-US" altLang="zh-CN" sz="2000" dirty="0"/>
          </a:p>
          <a:p>
            <a:pPr>
              <a:buNone/>
            </a:pPr>
            <a:r>
              <a:rPr lang="zh-CN" altLang="en-US" sz="2000" dirty="0"/>
              <a:t>肾功</a:t>
            </a:r>
            <a:r>
              <a:rPr lang="en-US" altLang="zh-CN" sz="2000" dirty="0"/>
              <a:t>:</a:t>
            </a:r>
            <a:r>
              <a:rPr lang="en-US" altLang="zh-CN" sz="2000" dirty="0">
                <a:solidFill>
                  <a:srgbClr val="0070C0"/>
                </a:solidFill>
              </a:rPr>
              <a:t>CREA 137 </a:t>
            </a:r>
            <a:r>
              <a:rPr lang="el-GR" altLang="zh-CN" sz="2000" dirty="0">
                <a:solidFill>
                  <a:srgbClr val="0070C0"/>
                </a:solidFill>
              </a:rPr>
              <a:t>μ</a:t>
            </a:r>
            <a:r>
              <a:rPr lang="en-US" altLang="zh-CN" sz="2000" dirty="0">
                <a:solidFill>
                  <a:srgbClr val="0070C0"/>
                </a:solidFill>
              </a:rPr>
              <a:t>mol/L</a:t>
            </a:r>
            <a:r>
              <a:rPr lang="zh-CN" altLang="en-US" sz="2000" dirty="0">
                <a:solidFill>
                  <a:srgbClr val="0070C0"/>
                </a:solidFill>
              </a:rPr>
              <a:t>，</a:t>
            </a:r>
            <a:r>
              <a:rPr lang="zh-CN" altLang="en-US" sz="2000" dirty="0"/>
              <a:t>肝功能正常</a:t>
            </a:r>
            <a:endParaRPr lang="en-US" altLang="zh-CN" sz="2000" dirty="0"/>
          </a:p>
          <a:p>
            <a:pPr>
              <a:buNone/>
            </a:pPr>
            <a:endParaRPr lang="en-US" altLang="zh-CN" sz="2000" dirty="0"/>
          </a:p>
          <a:p>
            <a:pPr>
              <a:buNone/>
            </a:pPr>
            <a:r>
              <a:rPr lang="it-IT" altLang="zh-CN" sz="2000" dirty="0"/>
              <a:t>D-</a:t>
            </a:r>
            <a:r>
              <a:rPr lang="zh-CN" altLang="it-IT" sz="2000" dirty="0"/>
              <a:t>二聚体</a:t>
            </a:r>
            <a:r>
              <a:rPr lang="zh-CN" altLang="en-US" sz="2000" dirty="0"/>
              <a:t>  </a:t>
            </a:r>
            <a:r>
              <a:rPr lang="it-IT" altLang="zh-CN" sz="2000" dirty="0"/>
              <a:t>1300 ug/L</a:t>
            </a:r>
            <a:r>
              <a:rPr lang="zh-CN" altLang="en-US" sz="2000" dirty="0"/>
              <a:t>、</a:t>
            </a:r>
            <a:r>
              <a:rPr lang="en-US" altLang="zh-CN" sz="2000" dirty="0"/>
              <a:t>NT-</a:t>
            </a:r>
            <a:r>
              <a:rPr lang="en-US" altLang="zh-CN" sz="2000" dirty="0" err="1"/>
              <a:t>proBNP</a:t>
            </a:r>
            <a:r>
              <a:rPr lang="en-US" altLang="zh-CN" sz="2000" dirty="0"/>
              <a:t> 106.200 pg/ml</a:t>
            </a:r>
            <a:endParaRPr lang="en-US" altLang="zh-CN" sz="2000" dirty="0"/>
          </a:p>
          <a:p>
            <a:pPr>
              <a:buNone/>
            </a:pPr>
            <a:endParaRPr lang="en-US" altLang="zh-CN" sz="2000" dirty="0"/>
          </a:p>
          <a:p>
            <a:pPr>
              <a:buNone/>
            </a:pPr>
            <a:r>
              <a:rPr lang="zh-CN" altLang="en-US" sz="2000" dirty="0"/>
              <a:t>血气分析</a:t>
            </a:r>
            <a:r>
              <a:rPr lang="en-US" altLang="zh-CN" sz="2000" dirty="0"/>
              <a:t>:PH7.48,</a:t>
            </a:r>
            <a:r>
              <a:rPr lang="zh-CN" altLang="en-US" sz="2000" dirty="0"/>
              <a:t> </a:t>
            </a:r>
            <a:r>
              <a:rPr lang="en-US" altLang="zh-CN" sz="2000" dirty="0"/>
              <a:t>PO2 126.00 mmHg,</a:t>
            </a:r>
            <a:r>
              <a:rPr lang="zh-CN" altLang="en-US" sz="2000" dirty="0"/>
              <a:t> </a:t>
            </a:r>
            <a:r>
              <a:rPr lang="en-US" altLang="zh-CN" sz="2000" dirty="0"/>
              <a:t>PCO2 31.00 mmHg,</a:t>
            </a:r>
            <a:r>
              <a:rPr lang="zh-CN" altLang="en-US" sz="2000" dirty="0"/>
              <a:t> </a:t>
            </a:r>
            <a:r>
              <a:rPr lang="en-US" altLang="zh-CN" sz="2000" dirty="0"/>
              <a:t>OI 381</a:t>
            </a:r>
            <a:endParaRPr lang="en-US" altLang="zh-CN" sz="2000" dirty="0"/>
          </a:p>
          <a:p>
            <a:pPr>
              <a:buNone/>
            </a:pPr>
            <a:endParaRPr lang="en-US" altLang="zh-CN" sz="2000" dirty="0"/>
          </a:p>
          <a:p>
            <a:pPr>
              <a:buNone/>
            </a:pPr>
            <a:r>
              <a:rPr lang="zh-CN" altLang="en-US" sz="2000" dirty="0"/>
              <a:t>肺炎三项、</a:t>
            </a:r>
            <a:r>
              <a:rPr lang="en-US" altLang="zh-CN" sz="2000" dirty="0"/>
              <a:t>T-spot</a:t>
            </a:r>
            <a:r>
              <a:rPr lang="zh-CN" altLang="en-US" sz="2000" dirty="0"/>
              <a:t>、血清曲霉</a:t>
            </a:r>
            <a:r>
              <a:rPr lang="en-US" altLang="zh-CN" sz="2000" dirty="0"/>
              <a:t>Ag  </a:t>
            </a:r>
            <a:r>
              <a:rPr lang="zh-CN" altLang="en-US" sz="2000" dirty="0"/>
              <a:t>阴性</a:t>
            </a:r>
            <a:endParaRPr lang="en-US" altLang="zh-CN" sz="2000" dirty="0"/>
          </a:p>
          <a:p>
            <a:pPr>
              <a:buFont typeface="Wingdings" panose="05000000000000000000" pitchFamily="2" charset="2"/>
              <a:buChar char="l"/>
            </a:pPr>
            <a:endParaRPr lang="en-US" altLang="zh-CN" dirty="0"/>
          </a:p>
          <a:p>
            <a:pPr>
              <a:buFont typeface="Wingdings" panose="05000000000000000000" pitchFamily="2" charset="2"/>
              <a:buChar char="l"/>
            </a:pPr>
            <a:endParaRPr lang="en-US" altLang="zh-CN"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辅助检查</a:t>
            </a:r>
            <a:endParaRPr lang="zh-CN" altLang="en-US" dirty="0"/>
          </a:p>
        </p:txBody>
      </p:sp>
      <p:pic>
        <p:nvPicPr>
          <p:cNvPr id="9218" name="Picture 2"/>
          <p:cNvPicPr>
            <a:picLocks noGrp="1" noChangeAspect="1" noChangeArrowheads="1"/>
          </p:cNvPicPr>
          <p:nvPr>
            <p:ph idx="1"/>
          </p:nvPr>
        </p:nvPicPr>
        <p:blipFill>
          <a:blip r:embed="rId1"/>
          <a:srcRect/>
          <a:stretch>
            <a:fillRect/>
          </a:stretch>
        </p:blipFill>
        <p:spPr bwMode="auto">
          <a:xfrm>
            <a:off x="1579471" y="1678039"/>
            <a:ext cx="9031823" cy="1948365"/>
          </a:xfrm>
          <a:prstGeom prst="rect">
            <a:avLst/>
          </a:prstGeom>
          <a:noFill/>
          <a:ln w="9525">
            <a:noFill/>
            <a:miter lim="800000"/>
            <a:headEnd/>
            <a:tailEnd/>
          </a:ln>
          <a:effectLst/>
        </p:spPr>
      </p:pic>
      <p:pic>
        <p:nvPicPr>
          <p:cNvPr id="9219" name="Picture 3"/>
          <p:cNvPicPr>
            <a:picLocks noChangeAspect="1" noChangeArrowheads="1"/>
          </p:cNvPicPr>
          <p:nvPr/>
        </p:nvPicPr>
        <p:blipFill>
          <a:blip r:embed="rId2"/>
          <a:srcRect/>
          <a:stretch>
            <a:fillRect/>
          </a:stretch>
        </p:blipFill>
        <p:spPr bwMode="auto">
          <a:xfrm>
            <a:off x="1805759" y="4069752"/>
            <a:ext cx="8410511" cy="555411"/>
          </a:xfrm>
          <a:prstGeom prst="rect">
            <a:avLst/>
          </a:prstGeom>
          <a:noFill/>
          <a:ln w="9525">
            <a:noFill/>
            <a:miter lim="800000"/>
            <a:headEnd/>
            <a:tailEnd/>
          </a:ln>
          <a:effectLst/>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肺部病变进展，病因？</a:t>
            </a:r>
            <a:endParaRPr lang="zh-CN" altLang="en-US" dirty="0"/>
          </a:p>
        </p:txBody>
      </p:sp>
      <p:sp>
        <p:nvSpPr>
          <p:cNvPr id="3" name="内容占位符 2"/>
          <p:cNvSpPr>
            <a:spLocks noGrp="1"/>
          </p:cNvSpPr>
          <p:nvPr>
            <p:ph idx="1"/>
          </p:nvPr>
        </p:nvSpPr>
        <p:spPr/>
        <p:txBody>
          <a:bodyPr/>
          <a:lstStyle/>
          <a:p>
            <a:pPr>
              <a:buNone/>
            </a:pPr>
            <a:r>
              <a:rPr lang="en-US" altLang="zh-CN" dirty="0"/>
              <a:t>1.</a:t>
            </a:r>
            <a:r>
              <a:rPr lang="zh-CN" altLang="en-US" dirty="0"/>
              <a:t>肺癌进展并阻塞性肺炎？</a:t>
            </a:r>
            <a:endParaRPr lang="en-US" altLang="zh-CN" dirty="0"/>
          </a:p>
          <a:p>
            <a:pPr>
              <a:buNone/>
            </a:pPr>
            <a:endParaRPr lang="en-US" altLang="zh-CN" dirty="0"/>
          </a:p>
          <a:p>
            <a:pPr>
              <a:buNone/>
            </a:pPr>
            <a:r>
              <a:rPr lang="en-US" altLang="zh-CN" dirty="0"/>
              <a:t>2.</a:t>
            </a:r>
            <a:r>
              <a:rPr lang="zh-CN" altLang="en-US" dirty="0"/>
              <a:t>停激素后放射性肺炎反复？</a:t>
            </a:r>
            <a:endParaRPr lang="en-US" altLang="zh-CN" dirty="0"/>
          </a:p>
          <a:p>
            <a:pPr>
              <a:buNone/>
            </a:pPr>
            <a:endParaRPr lang="en-US" altLang="zh-CN" dirty="0"/>
          </a:p>
          <a:p>
            <a:pPr>
              <a:buNone/>
            </a:pPr>
            <a:r>
              <a:rPr lang="en-US" altLang="zh-CN" dirty="0"/>
              <a:t>3.</a:t>
            </a:r>
            <a:r>
              <a:rPr lang="zh-CN" altLang="en-US" dirty="0"/>
              <a:t>免疫性肺炎？</a:t>
            </a:r>
            <a:endParaRPr lang="en-US" altLang="zh-CN" dirty="0"/>
          </a:p>
          <a:p>
            <a:pPr>
              <a:buNone/>
            </a:pPr>
            <a:endParaRPr lang="en-US" altLang="zh-CN" dirty="0"/>
          </a:p>
          <a:p>
            <a:pPr>
              <a:buNone/>
            </a:pPr>
            <a:r>
              <a:rPr lang="en-US" altLang="zh-CN" dirty="0"/>
              <a:t>4.</a:t>
            </a:r>
            <a:r>
              <a:rPr lang="zh-CN" altLang="en-US" dirty="0"/>
              <a:t>特殊感染？</a:t>
            </a:r>
            <a:endParaRPr lang="zh-CN" alt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5-6-3 </a:t>
            </a:r>
            <a:r>
              <a:rPr lang="zh-CN" altLang="en-US" dirty="0"/>
              <a:t>纤支镜检查</a:t>
            </a:r>
            <a:endParaRPr lang="zh-CN" altLang="en-US" dirty="0"/>
          </a:p>
        </p:txBody>
      </p:sp>
      <p:pic>
        <p:nvPicPr>
          <p:cNvPr id="10242" name="Picture 2"/>
          <p:cNvPicPr>
            <a:picLocks noGrp="1" noChangeAspect="1" noChangeArrowheads="1"/>
          </p:cNvPicPr>
          <p:nvPr>
            <p:ph idx="1"/>
          </p:nvPr>
        </p:nvPicPr>
        <p:blipFill>
          <a:blip r:embed="rId1"/>
          <a:srcRect/>
          <a:stretch>
            <a:fillRect/>
          </a:stretch>
        </p:blipFill>
        <p:spPr bwMode="auto">
          <a:xfrm>
            <a:off x="1165999" y="1163472"/>
            <a:ext cx="8161605" cy="4008484"/>
          </a:xfrm>
          <a:prstGeom prst="rect">
            <a:avLst/>
          </a:prstGeom>
          <a:noFill/>
          <a:ln w="9525">
            <a:noFill/>
            <a:miter lim="800000"/>
            <a:headEnd/>
            <a:tailEnd/>
          </a:ln>
          <a:effectLst/>
        </p:spPr>
      </p:pic>
      <p:sp>
        <p:nvSpPr>
          <p:cNvPr id="5" name="矩形 4"/>
          <p:cNvSpPr/>
          <p:nvPr/>
        </p:nvSpPr>
        <p:spPr>
          <a:xfrm>
            <a:off x="1614984" y="5246512"/>
            <a:ext cx="6778389" cy="646331"/>
          </a:xfrm>
          <a:prstGeom prst="rect">
            <a:avLst/>
          </a:prstGeom>
        </p:spPr>
        <p:txBody>
          <a:bodyPr wrap="square">
            <a:spAutoFit/>
          </a:bodyPr>
          <a:lstStyle/>
          <a:p>
            <a:r>
              <a:rPr lang="en-US" b="1" dirty="0" err="1"/>
              <a:t>左上叶固有段支气管外压性极重度裂隙样狭窄，黏膜充血肿胀，远端呈空腔样改变，结构失常，披覆大量脓苔，触之易出血</a:t>
            </a:r>
            <a:endParaRPr lang="zh-CN" altLang="en-US" dirty="0"/>
          </a:p>
        </p:txBody>
      </p:sp>
      <p:pic>
        <p:nvPicPr>
          <p:cNvPr id="10243" name="Picture 3"/>
          <p:cNvPicPr>
            <a:picLocks noChangeAspect="1" noChangeArrowheads="1"/>
          </p:cNvPicPr>
          <p:nvPr/>
        </p:nvPicPr>
        <p:blipFill>
          <a:blip r:embed="rId2"/>
          <a:srcRect l="2506" r="6910"/>
          <a:stretch>
            <a:fillRect/>
          </a:stretch>
        </p:blipFill>
        <p:spPr bwMode="auto">
          <a:xfrm>
            <a:off x="9240518" y="4173224"/>
            <a:ext cx="2864396" cy="1719619"/>
          </a:xfrm>
          <a:prstGeom prst="rect">
            <a:avLst/>
          </a:prstGeom>
          <a:noFill/>
          <a:ln w="9525">
            <a:noFill/>
            <a:miter lim="800000"/>
            <a:headEnd/>
            <a:tailEnd/>
          </a:ln>
          <a:effectLst/>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 </a:t>
            </a:r>
            <a:r>
              <a:rPr lang="en-US" altLang="zh-CN" dirty="0"/>
              <a:t>BALF  </a:t>
            </a:r>
            <a:r>
              <a:rPr lang="en-US" altLang="zh-CN" dirty="0" err="1"/>
              <a:t>tNGS</a:t>
            </a:r>
            <a:endParaRPr lang="zh-CN" altLang="en-US" dirty="0"/>
          </a:p>
        </p:txBody>
      </p:sp>
      <p:pic>
        <p:nvPicPr>
          <p:cNvPr id="11266" name="Picture 2"/>
          <p:cNvPicPr>
            <a:picLocks noGrp="1" noChangeAspect="1" noChangeArrowheads="1"/>
          </p:cNvPicPr>
          <p:nvPr>
            <p:ph idx="1"/>
          </p:nvPr>
        </p:nvPicPr>
        <p:blipFill>
          <a:blip r:embed="rId1"/>
          <a:srcRect/>
          <a:stretch>
            <a:fillRect/>
          </a:stretch>
        </p:blipFill>
        <p:spPr bwMode="auto">
          <a:xfrm>
            <a:off x="1333491" y="1109425"/>
            <a:ext cx="8656669" cy="5126672"/>
          </a:xfrm>
          <a:prstGeom prst="rect">
            <a:avLst/>
          </a:prstGeom>
          <a:noFill/>
          <a:ln w="9525">
            <a:noFill/>
            <a:miter lim="800000"/>
            <a:headEnd/>
            <a:tailEnd/>
          </a:ln>
          <a:effectLst/>
        </p:spPr>
      </p:pic>
      <p:sp>
        <p:nvSpPr>
          <p:cNvPr id="5" name="矩形 4"/>
          <p:cNvSpPr/>
          <p:nvPr/>
        </p:nvSpPr>
        <p:spPr>
          <a:xfrm>
            <a:off x="2060811" y="3889612"/>
            <a:ext cx="7492621" cy="49132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BALF  GM</a:t>
            </a:r>
            <a:r>
              <a:rPr lang="zh-CN" altLang="en-US" dirty="0"/>
              <a:t>及培养</a:t>
            </a:r>
            <a:endParaRPr lang="zh-CN" altLang="en-US" dirty="0"/>
          </a:p>
        </p:txBody>
      </p:sp>
      <p:pic>
        <p:nvPicPr>
          <p:cNvPr id="12290" name="Picture 2"/>
          <p:cNvPicPr>
            <a:picLocks noGrp="1" noChangeAspect="1" noChangeArrowheads="1"/>
          </p:cNvPicPr>
          <p:nvPr>
            <p:ph idx="1"/>
          </p:nvPr>
        </p:nvPicPr>
        <p:blipFill>
          <a:blip r:embed="rId1"/>
          <a:srcRect/>
          <a:stretch>
            <a:fillRect/>
          </a:stretch>
        </p:blipFill>
        <p:spPr bwMode="auto">
          <a:xfrm>
            <a:off x="1211452" y="1438547"/>
            <a:ext cx="8896350" cy="1847850"/>
          </a:xfrm>
          <a:prstGeom prst="rect">
            <a:avLst/>
          </a:prstGeom>
          <a:noFill/>
          <a:ln w="9525">
            <a:noFill/>
            <a:miter lim="800000"/>
            <a:headEnd/>
            <a:tailEnd/>
          </a:ln>
          <a:effectLst/>
        </p:spPr>
      </p:pic>
      <p:pic>
        <p:nvPicPr>
          <p:cNvPr id="12291" name="Picture 3"/>
          <p:cNvPicPr>
            <a:picLocks noChangeAspect="1" noChangeArrowheads="1"/>
          </p:cNvPicPr>
          <p:nvPr/>
        </p:nvPicPr>
        <p:blipFill>
          <a:blip r:embed="rId2"/>
          <a:srcRect/>
          <a:stretch>
            <a:fillRect/>
          </a:stretch>
        </p:blipFill>
        <p:spPr bwMode="auto">
          <a:xfrm>
            <a:off x="1239387" y="3590783"/>
            <a:ext cx="8750774" cy="2351530"/>
          </a:xfrm>
          <a:prstGeom prst="rect">
            <a:avLst/>
          </a:prstGeom>
          <a:noFill/>
          <a:ln w="9525">
            <a:noFill/>
            <a:miter lim="800000"/>
            <a:headEnd/>
            <a:tailEnd/>
          </a:ln>
          <a:effectLst/>
        </p:spPr>
      </p:pic>
      <p:sp>
        <p:nvSpPr>
          <p:cNvPr id="6" name="矩形 5"/>
          <p:cNvSpPr/>
          <p:nvPr/>
        </p:nvSpPr>
        <p:spPr>
          <a:xfrm>
            <a:off x="1364775" y="2852381"/>
            <a:ext cx="4926843" cy="34119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endParaRPr>
          </a:p>
        </p:txBody>
      </p:sp>
      <p:sp>
        <p:nvSpPr>
          <p:cNvPr id="7" name="矩形 6"/>
          <p:cNvSpPr/>
          <p:nvPr/>
        </p:nvSpPr>
        <p:spPr>
          <a:xfrm>
            <a:off x="1626357" y="5570560"/>
            <a:ext cx="6616891" cy="34119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病理</a:t>
            </a:r>
            <a:endParaRPr lang="zh-CN" altLang="en-US" dirty="0"/>
          </a:p>
        </p:txBody>
      </p:sp>
      <p:pic>
        <p:nvPicPr>
          <p:cNvPr id="13314" name="Picture 2"/>
          <p:cNvPicPr>
            <a:picLocks noGrp="1" noChangeAspect="1" noChangeArrowheads="1"/>
          </p:cNvPicPr>
          <p:nvPr>
            <p:ph idx="1"/>
          </p:nvPr>
        </p:nvPicPr>
        <p:blipFill>
          <a:blip r:embed="rId1"/>
          <a:srcRect/>
          <a:stretch>
            <a:fillRect/>
          </a:stretch>
        </p:blipFill>
        <p:spPr bwMode="auto">
          <a:xfrm>
            <a:off x="1489170" y="1083137"/>
            <a:ext cx="8886825" cy="3295650"/>
          </a:xfrm>
          <a:prstGeom prst="rect">
            <a:avLst/>
          </a:prstGeom>
          <a:noFill/>
          <a:ln w="9525">
            <a:noFill/>
            <a:miter lim="800000"/>
            <a:headEnd/>
            <a:tailEnd/>
          </a:ln>
          <a:effectLst/>
        </p:spPr>
      </p:pic>
      <p:sp>
        <p:nvSpPr>
          <p:cNvPr id="6" name="矩形 5"/>
          <p:cNvSpPr/>
          <p:nvPr/>
        </p:nvSpPr>
        <p:spPr>
          <a:xfrm>
            <a:off x="1628633" y="4607089"/>
            <a:ext cx="8634484" cy="1015663"/>
          </a:xfrm>
          <a:prstGeom prst="rect">
            <a:avLst/>
          </a:prstGeom>
        </p:spPr>
        <p:txBody>
          <a:bodyPr wrap="square">
            <a:spAutoFit/>
          </a:bodyPr>
          <a:lstStyle/>
          <a:p>
            <a:r>
              <a:rPr lang="en-US" sz="2000" b="1" dirty="0" err="1"/>
              <a:t>左肺上叶固有段</a:t>
            </a:r>
            <a:r>
              <a:rPr lang="zh-CN" altLang="en-US" sz="2000" b="1" dirty="0"/>
              <a:t>：</a:t>
            </a:r>
            <a:r>
              <a:rPr lang="en-US" sz="2000" b="1" dirty="0" err="1"/>
              <a:t>镜下于坏死组织中见少许真菌菌团，符合</a:t>
            </a:r>
            <a:r>
              <a:rPr lang="en-US" sz="2000" b="1" dirty="0" err="1">
                <a:solidFill>
                  <a:srgbClr val="FF0000"/>
                </a:solidFill>
              </a:rPr>
              <a:t>曲霉菌</a:t>
            </a:r>
            <a:r>
              <a:rPr lang="en-US" sz="2000" b="1" dirty="0"/>
              <a:t>。</a:t>
            </a:r>
            <a:endParaRPr lang="en-US" sz="2000" b="1" dirty="0"/>
          </a:p>
          <a:p>
            <a:endParaRPr lang="en-US" sz="2000" b="1" dirty="0"/>
          </a:p>
          <a:p>
            <a:r>
              <a:rPr lang="en-US" sz="2000" b="1" dirty="0" err="1"/>
              <a:t>支纤镜毛刷</a:t>
            </a:r>
            <a:r>
              <a:rPr lang="zh-CN" altLang="en-US" sz="2000" b="1" dirty="0"/>
              <a:t>及肺泡灌洗液：</a:t>
            </a:r>
            <a:r>
              <a:rPr lang="en-US" sz="2000" b="1" dirty="0" err="1"/>
              <a:t>少许真菌菌团，未见癌细胞</a:t>
            </a:r>
            <a:r>
              <a:rPr lang="en-US" sz="2000" b="1" dirty="0"/>
              <a:t>。</a:t>
            </a:r>
            <a:endParaRPr lang="en-US" sz="2000" b="1"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10"/>
          <p:cNvGrpSpPr/>
          <p:nvPr/>
        </p:nvGrpSpPr>
        <p:grpSpPr>
          <a:xfrm>
            <a:off x="6094088" y="926020"/>
            <a:ext cx="5459375" cy="4937312"/>
            <a:chOff x="479425" y="696302"/>
            <a:chExt cx="11236325" cy="724722"/>
          </a:xfrm>
        </p:grpSpPr>
        <p:sp>
          <p:nvSpPr>
            <p:cNvPr id="1048592" name="矩形 11"/>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28" name="直接连接符 17"/>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29" name="直接连接符 18"/>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grpSp>
        <p:nvGrpSpPr>
          <p:cNvPr id="73" name="组合 22"/>
          <p:cNvGrpSpPr/>
          <p:nvPr/>
        </p:nvGrpSpPr>
        <p:grpSpPr>
          <a:xfrm>
            <a:off x="513162" y="935666"/>
            <a:ext cx="5459375" cy="4937312"/>
            <a:chOff x="479425" y="696302"/>
            <a:chExt cx="11236325" cy="724722"/>
          </a:xfrm>
        </p:grpSpPr>
        <p:sp>
          <p:nvSpPr>
            <p:cNvPr id="1048593" name="矩形 24"/>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30" name="直接连接符 28"/>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31" name="直接连接符 29"/>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sp>
        <p:nvSpPr>
          <p:cNvPr id="1048594" name="标题 1"/>
          <p:cNvSpPr>
            <a:spLocks noGrp="1"/>
          </p:cNvSpPr>
          <p:nvPr>
            <p:ph type="title"/>
          </p:nvPr>
        </p:nvSpPr>
        <p:spPr>
          <a:xfrm>
            <a:off x="838200" y="345876"/>
            <a:ext cx="10515600" cy="520700"/>
          </a:xfrm>
        </p:spPr>
        <p:txBody>
          <a:bodyPr/>
          <a:lstStyle/>
          <a:p>
            <a:r>
              <a:rPr lang="zh-CN" altLang="en-US" dirty="0"/>
              <a:t>侵袭性霉菌病发病率逐年增加</a:t>
            </a:r>
            <a:endParaRPr lang="zh-CN" altLang="en-US" dirty="0"/>
          </a:p>
        </p:txBody>
      </p:sp>
      <p:sp>
        <p:nvSpPr>
          <p:cNvPr id="1048595" name="文本框 6"/>
          <p:cNvSpPr txBox="1"/>
          <p:nvPr/>
        </p:nvSpPr>
        <p:spPr>
          <a:xfrm>
            <a:off x="1151439" y="1093090"/>
            <a:ext cx="4152160" cy="306467"/>
          </a:xfrm>
          <a:prstGeom prst="roundRect">
            <a:avLst/>
          </a:prstGeom>
          <a:solidFill>
            <a:srgbClr val="F2E6F1"/>
          </a:solidFill>
          <a:ln w="19050" cap="flat" cmpd="sng" algn="ctr">
            <a:solidFill>
              <a:sysClr val="window" lastClr="FFFFFF"/>
            </a:solidFill>
            <a:prstDash val="solid"/>
            <a:miter lim="800000"/>
          </a:ln>
          <a:effectLst/>
        </p:spPr>
        <p:txBody>
          <a:bodyPr rot="0" spcFirstLastPara="0" vert="horz" wrap="square" lIns="91440" tIns="45720" rIns="91440" bIns="45720" numCol="1" spcCol="0" rtlCol="0" fromWordArt="0" anchor="ctr" anchorCtr="0" forceAA="0" compatLnSpc="1">
            <a:spAutoFit/>
          </a:bodyPr>
          <a:lstStyle>
            <a:defPPr>
              <a:defRPr lang="zh-CN"/>
            </a:defPPr>
            <a:lvl1pPr algn="ctr" defTabSz="914400">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78407F"/>
                </a:solidFill>
                <a:effectLst/>
                <a:uLnTx/>
                <a:uFillTx/>
                <a:latin typeface="Times New Roman" panose="02020603050405020304" pitchFamily="18" charset="0"/>
                <a:ea typeface="微软雅黑" panose="020B0503020204020204" charset="-122"/>
                <a:cs typeface="Times New Roman" panose="02020603050405020304" pitchFamily="18" charset="0"/>
              </a:rPr>
              <a:t>国内外研究提示：侵袭性霉菌病的发病率逐年增加</a:t>
            </a:r>
            <a:endParaRPr kumimoji="0" lang="zh-CN" altLang="en-US" sz="1200" b="1" i="0" u="none" strike="noStrike" kern="1200" cap="none" spc="0" normalizeH="0" baseline="0" noProof="0" dirty="0">
              <a:ln>
                <a:noFill/>
              </a:ln>
              <a:solidFill>
                <a:srgbClr val="78407F"/>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596" name="文本框 15"/>
          <p:cNvSpPr txBox="1"/>
          <p:nvPr/>
        </p:nvSpPr>
        <p:spPr>
          <a:xfrm>
            <a:off x="6732487" y="1091486"/>
            <a:ext cx="4152160" cy="306467"/>
          </a:xfrm>
          <a:prstGeom prst="roundRect">
            <a:avLst/>
          </a:prstGeom>
          <a:solidFill>
            <a:srgbClr val="F2E6F1"/>
          </a:solidFill>
          <a:ln w="19050" cap="flat" cmpd="sng" algn="ctr">
            <a:solidFill>
              <a:sysClr val="window" lastClr="FFFFFF"/>
            </a:solidFill>
            <a:prstDash val="solid"/>
            <a:miter lim="800000"/>
          </a:ln>
          <a:effectLst/>
        </p:spPr>
        <p:txBody>
          <a:bodyPr rot="0" spcFirstLastPara="0" vert="horz" wrap="square" lIns="91440" tIns="45720" rIns="91440" bIns="45720" numCol="1" spcCol="0" rtlCol="0" fromWordArt="0" anchor="ctr" anchorCtr="0" forceAA="0" compatLnSpc="1">
            <a:spAutoFit/>
          </a:bodyPr>
          <a:lstStyle>
            <a:defPPr>
              <a:defRPr lang="zh-CN"/>
            </a:defPPr>
            <a:lvl1pPr algn="ctr" defTabSz="914400">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78407F"/>
                </a:solidFill>
                <a:effectLst/>
                <a:uLnTx/>
                <a:uFillTx/>
                <a:latin typeface="Times New Roman" panose="02020603050405020304" pitchFamily="18" charset="0"/>
                <a:ea typeface="微软雅黑" panose="020B0503020204020204" charset="-122"/>
                <a:cs typeface="Times New Roman" panose="02020603050405020304" pitchFamily="18" charset="0"/>
              </a:rPr>
              <a:t>呼吸道病毒感染使侵袭性霉菌病发病率显著增加</a:t>
            </a:r>
            <a:endParaRPr kumimoji="0" lang="zh-CN" altLang="en-US" sz="1200" b="1" i="0" u="none" strike="noStrike" kern="1200" cap="none" spc="0" normalizeH="0" baseline="0" noProof="0" dirty="0">
              <a:ln>
                <a:noFill/>
              </a:ln>
              <a:solidFill>
                <a:srgbClr val="78407F"/>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74" name="组合 19"/>
          <p:cNvGrpSpPr/>
          <p:nvPr/>
        </p:nvGrpSpPr>
        <p:grpSpPr>
          <a:xfrm>
            <a:off x="6455645" y="2178789"/>
            <a:ext cx="4885760" cy="3494131"/>
            <a:chOff x="5662935" y="2487706"/>
            <a:chExt cx="5690865" cy="3795635"/>
          </a:xfrm>
        </p:grpSpPr>
        <p:pic>
          <p:nvPicPr>
            <p:cNvPr id="2097155" name="图片 20"/>
            <p:cNvPicPr>
              <a:picLocks noChangeAspect="1"/>
            </p:cNvPicPr>
            <p:nvPr/>
          </p:nvPicPr>
          <p:blipFill>
            <a:blip r:embed="rId2"/>
            <a:stretch>
              <a:fillRect/>
            </a:stretch>
          </p:blipFill>
          <p:spPr>
            <a:xfrm>
              <a:off x="5662935" y="2649072"/>
              <a:ext cx="5690865" cy="3527145"/>
            </a:xfrm>
            <a:prstGeom prst="rect">
              <a:avLst/>
            </a:prstGeom>
          </p:spPr>
        </p:pic>
        <p:sp>
          <p:nvSpPr>
            <p:cNvPr id="1048597" name="矩形: 圆角 21"/>
            <p:cNvSpPr/>
            <p:nvPr/>
          </p:nvSpPr>
          <p:spPr>
            <a:xfrm>
              <a:off x="10307171" y="2487706"/>
              <a:ext cx="524435" cy="3795635"/>
            </a:xfrm>
            <a:prstGeom prst="roundRect">
              <a:avLst>
                <a:gd name="adj" fmla="val 8667"/>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sp>
        <p:nvSpPr>
          <p:cNvPr id="1048598" name="文本框 23"/>
          <p:cNvSpPr txBox="1"/>
          <p:nvPr/>
        </p:nvSpPr>
        <p:spPr>
          <a:xfrm>
            <a:off x="6244390" y="1450795"/>
            <a:ext cx="5180797" cy="705834"/>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近年呼吸道病毒感染的暴发使霉菌所致侵袭性霉菌病的发病率显著增加</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3</a:t>
            </a:r>
            <a:endParaRPr kumimoji="0" lang="en-US" altLang="zh-CN" sz="1400" b="0" i="0" u="none" strike="noStrike" kern="1200" cap="none" spc="0" normalizeH="0" baseline="30000" noProof="0" dirty="0">
              <a:ln>
                <a:noFill/>
              </a:ln>
              <a:solidFill>
                <a:srgbClr val="78407F"/>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599" name="文本框 2"/>
          <p:cNvSpPr txBox="1"/>
          <p:nvPr/>
        </p:nvSpPr>
        <p:spPr>
          <a:xfrm>
            <a:off x="0" y="6404175"/>
            <a:ext cx="1104258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1. </a:t>
            </a:r>
            <a:r>
              <a:rPr kumimoji="0" lang="en-US" altLang="zh-CN" sz="1000" b="0" i="0" u="none" strike="noStrike" kern="1200" cap="none" spc="0" normalizeH="0" baseline="0" noProof="0" dirty="0" err="1">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Zilberberg</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 MD et al. BMC Public Health.2019;19:591     2. </a:t>
            </a:r>
            <a:r>
              <a:rPr kumimoji="0" lang="en-US" altLang="zh-CN" sz="1000" b="0" i="0" u="none" strike="noStrike" kern="1200" cap="none" spc="0" normalizeH="0" baseline="0" noProof="0" dirty="0" err="1">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Zhengtu</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 Li et al. </a:t>
            </a:r>
            <a:r>
              <a:rPr kumimoji="0" lang="en-US" altLang="zh-CN" sz="1000" b="0" i="0" u="none" strike="noStrike" kern="1200" cap="none" spc="0" normalizeH="0" baseline="0" noProof="0" dirty="0" err="1">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Emerg</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 Microbes Infect. 2021 Dec;10(1):450-460        3. </a:t>
            </a:r>
            <a:r>
              <a:rPr kumimoji="0" lang="en-US" altLang="zh-CN" sz="1000" b="0" i="0" u="none" strike="noStrike" kern="1200" cap="none" spc="0" normalizeH="0" baseline="0" noProof="0" dirty="0" err="1">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Cighir</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 A et al. Life (Basel) . 2023 Feb 15;13(2):546.</a:t>
            </a:r>
            <a:endPar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00" name="文本框 8"/>
          <p:cNvSpPr txBox="1"/>
          <p:nvPr/>
        </p:nvSpPr>
        <p:spPr>
          <a:xfrm>
            <a:off x="747120" y="1445172"/>
            <a:ext cx="4960882" cy="700448"/>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美国：</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0</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年间</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A</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的年增长率为</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4.4%</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a:t>
            </a:r>
            <a:endPar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我国：</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A</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的</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年增长率分别为</a:t>
            </a:r>
            <a:r>
              <a:rPr kumimoji="0" lang="en-US" altLang="zh-CN"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5.9%</a:t>
            </a:r>
            <a:r>
              <a:rPr kumimoji="0" lang="en-US" altLang="zh-CN" sz="1400" b="1" i="0" u="none" strike="noStrike" kern="1200" cap="none" spc="0" normalizeH="0" baseline="3000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2</a:t>
            </a:r>
            <a:endParaRPr kumimoji="0" lang="en-US" altLang="zh-CN" sz="1400" b="0" i="0" u="none" strike="noStrike" kern="1200" cap="none" spc="0" normalizeH="0" baseline="3000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75" name="组合 3"/>
          <p:cNvGrpSpPr/>
          <p:nvPr/>
        </p:nvGrpSpPr>
        <p:grpSpPr>
          <a:xfrm>
            <a:off x="1240483" y="2260597"/>
            <a:ext cx="4089293" cy="1502882"/>
            <a:chOff x="1212351" y="2328894"/>
            <a:chExt cx="3235369" cy="1870174"/>
          </a:xfrm>
        </p:grpSpPr>
        <p:pic>
          <p:nvPicPr>
            <p:cNvPr id="2097156" name="图片 4"/>
            <p:cNvPicPr>
              <a:picLocks noChangeAspect="1"/>
            </p:cNvPicPr>
            <p:nvPr/>
          </p:nvPicPr>
          <p:blipFill rotWithShape="1">
            <a:blip r:embed="rId3" cstate="print"/>
            <a:srcRect l="8238" b="6605"/>
            <a:stretch>
              <a:fillRect/>
            </a:stretch>
          </p:blipFill>
          <p:spPr>
            <a:xfrm>
              <a:off x="1319839" y="2328894"/>
              <a:ext cx="3127881" cy="1870174"/>
            </a:xfrm>
            <a:prstGeom prst="rect">
              <a:avLst/>
            </a:prstGeom>
          </p:spPr>
        </p:pic>
        <p:sp>
          <p:nvSpPr>
            <p:cNvPr id="1048601" name="文本框 5"/>
            <p:cNvSpPr txBox="1"/>
            <p:nvPr/>
          </p:nvSpPr>
          <p:spPr>
            <a:xfrm rot="16200000">
              <a:off x="522667" y="3110518"/>
              <a:ext cx="1666128" cy="28676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美国：</a:t>
              </a: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A</a:t>
              </a: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年检出率</a:t>
              </a:r>
              <a:endPar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0,000</a:t>
              </a: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住院患者）</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grpSp>
        <p:nvGrpSpPr>
          <p:cNvPr id="76" name="组合 7"/>
          <p:cNvGrpSpPr/>
          <p:nvPr/>
        </p:nvGrpSpPr>
        <p:grpSpPr>
          <a:xfrm>
            <a:off x="952560" y="3908203"/>
            <a:ext cx="4367590" cy="1876580"/>
            <a:chOff x="995569" y="4331342"/>
            <a:chExt cx="3757960" cy="1813715"/>
          </a:xfrm>
        </p:grpSpPr>
        <p:grpSp>
          <p:nvGrpSpPr>
            <p:cNvPr id="77" name="组合 12"/>
            <p:cNvGrpSpPr/>
            <p:nvPr/>
          </p:nvGrpSpPr>
          <p:grpSpPr>
            <a:xfrm>
              <a:off x="995569" y="4331342"/>
              <a:ext cx="3757960" cy="1813715"/>
              <a:chOff x="820771" y="2422478"/>
              <a:chExt cx="10179325" cy="3715855"/>
            </a:xfrm>
          </p:grpSpPr>
          <p:graphicFrame>
            <p:nvGraphicFramePr>
              <p:cNvPr id="4194305" name="图表 16"/>
              <p:cNvGraphicFramePr/>
              <p:nvPr/>
            </p:nvGraphicFramePr>
            <p:xfrm>
              <a:off x="1378424" y="2422478"/>
              <a:ext cx="9621672" cy="3715855"/>
            </p:xfrm>
            <a:graphic>
              <a:graphicData uri="http://schemas.openxmlformats.org/drawingml/2006/chart">
                <c:chart xmlns:c="http://schemas.openxmlformats.org/drawingml/2006/chart" xmlns:r="http://schemas.openxmlformats.org/officeDocument/2006/relationships" r:id="rId1"/>
              </a:graphicData>
            </a:graphic>
          </p:graphicFrame>
          <p:sp>
            <p:nvSpPr>
              <p:cNvPr id="1048602" name="文本框 25"/>
              <p:cNvSpPr txBox="1"/>
              <p:nvPr/>
            </p:nvSpPr>
            <p:spPr>
              <a:xfrm rot="16200000">
                <a:off x="-184080" y="3875944"/>
                <a:ext cx="2556397" cy="5466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中国：</a:t>
                </a: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MD</a:t>
                </a: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年检出率</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sp>
          <p:nvSpPr>
            <p:cNvPr id="1048603" name="文本框 13"/>
            <p:cNvSpPr txBox="1"/>
            <p:nvPr/>
          </p:nvSpPr>
          <p:spPr>
            <a:xfrm>
              <a:off x="1765328" y="4681759"/>
              <a:ext cx="1118959" cy="24794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a:ln>
                    <a:noFill/>
                  </a:ln>
                  <a:solidFill>
                    <a:srgbClr val="C00000"/>
                  </a:solidFill>
                  <a:effectLst/>
                  <a:uLnTx/>
                  <a:uFillTx/>
                  <a:latin typeface="Times New Roman" panose="02020603050405020304" pitchFamily="18" charset="0"/>
                  <a:ea typeface="微软雅黑" panose="020B0503020204020204" charset="-122"/>
                  <a:cs typeface="Times New Roman" panose="02020603050405020304" pitchFamily="18" charset="0"/>
                </a:rPr>
                <a:t>IA</a:t>
              </a:r>
              <a:r>
                <a:rPr kumimoji="0" lang="zh-CN" altLang="en-US" sz="1100" b="1" i="0" u="none" strike="noStrike" kern="1200" cap="none" spc="0" normalizeH="0" baseline="0" noProof="0" dirty="0">
                  <a:ln>
                    <a:noFill/>
                  </a:ln>
                  <a:solidFill>
                    <a:srgbClr val="C00000"/>
                  </a:solidFill>
                  <a:effectLst/>
                  <a:uLnTx/>
                  <a:uFillTx/>
                  <a:latin typeface="Times New Roman" panose="02020603050405020304" pitchFamily="18" charset="0"/>
                  <a:ea typeface="微软雅黑" panose="020B0503020204020204" charset="-122"/>
                  <a:cs typeface="Times New Roman" panose="02020603050405020304" pitchFamily="18" charset="0"/>
                </a:rPr>
                <a:t>年增长率：</a:t>
              </a:r>
              <a:r>
                <a:rPr kumimoji="0" lang="en-US" altLang="zh-CN" sz="1100" b="1" i="0" u="none" strike="noStrike" kern="1200" cap="none" spc="0" normalizeH="0" baseline="0" noProof="0" dirty="0">
                  <a:ln>
                    <a:noFill/>
                  </a:ln>
                  <a:solidFill>
                    <a:srgbClr val="C00000"/>
                  </a:solidFill>
                  <a:effectLst/>
                  <a:uLnTx/>
                  <a:uFillTx/>
                  <a:latin typeface="Times New Roman" panose="02020603050405020304" pitchFamily="18" charset="0"/>
                  <a:ea typeface="微软雅黑" panose="020B0503020204020204" charset="-122"/>
                  <a:cs typeface="Times New Roman" panose="02020603050405020304" pitchFamily="18" charset="0"/>
                </a:rPr>
                <a:t>5.9%</a:t>
              </a:r>
              <a:endParaRPr kumimoji="0" lang="zh-CN" altLang="en-US" sz="1100" b="1" i="0" u="none" strike="noStrike" kern="1200" cap="none" spc="0" normalizeH="0" baseline="0" noProof="0" dirty="0">
                <a:ln>
                  <a:noFill/>
                </a:ln>
                <a:solidFill>
                  <a:srgbClr val="C00000"/>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体格检查</a:t>
            </a:r>
            <a:endParaRPr lang="zh-CN" altLang="en-US" dirty="0"/>
          </a:p>
        </p:txBody>
      </p:sp>
      <p:sp>
        <p:nvSpPr>
          <p:cNvPr id="3" name="内容占位符 2"/>
          <p:cNvSpPr>
            <a:spLocks noGrp="1"/>
          </p:cNvSpPr>
          <p:nvPr>
            <p:ph idx="1"/>
          </p:nvPr>
        </p:nvSpPr>
        <p:spPr/>
        <p:txBody>
          <a:bodyPr/>
          <a:lstStyle/>
          <a:p>
            <a:pPr>
              <a:buNone/>
            </a:pPr>
            <a:r>
              <a:rPr lang="zh-CN" altLang="en-US" dirty="0"/>
              <a:t>  体温：</a:t>
            </a:r>
            <a:r>
              <a:rPr lang="en-US" altLang="zh-CN" dirty="0"/>
              <a:t>36.5℃</a:t>
            </a:r>
            <a:r>
              <a:rPr lang="zh-CN" altLang="en-US" dirty="0"/>
              <a:t>，脉搏：</a:t>
            </a:r>
            <a:r>
              <a:rPr lang="en-US" altLang="zh-CN" dirty="0"/>
              <a:t>102</a:t>
            </a:r>
            <a:r>
              <a:rPr lang="zh-CN" altLang="en-US" dirty="0"/>
              <a:t>次</a:t>
            </a:r>
            <a:r>
              <a:rPr lang="en-US" altLang="zh-CN" dirty="0"/>
              <a:t>/</a:t>
            </a:r>
            <a:r>
              <a:rPr lang="zh-CN" altLang="en-US" dirty="0"/>
              <a:t>分，呼吸：</a:t>
            </a:r>
            <a:r>
              <a:rPr lang="en-US" altLang="zh-CN" dirty="0"/>
              <a:t>12</a:t>
            </a:r>
            <a:r>
              <a:rPr lang="zh-CN" altLang="en-US" dirty="0"/>
              <a:t>次</a:t>
            </a:r>
            <a:r>
              <a:rPr lang="en-US" altLang="zh-CN" dirty="0"/>
              <a:t>/</a:t>
            </a:r>
            <a:r>
              <a:rPr lang="zh-CN" altLang="en-US" dirty="0"/>
              <a:t>分，血压：</a:t>
            </a:r>
            <a:r>
              <a:rPr lang="en-US" altLang="zh-CN" dirty="0"/>
              <a:t>173/82mmHg</a:t>
            </a:r>
            <a:r>
              <a:rPr lang="zh-CN" altLang="en-US" dirty="0"/>
              <a:t>。</a:t>
            </a:r>
            <a:endParaRPr lang="en-US" altLang="zh-CN" dirty="0"/>
          </a:p>
          <a:p>
            <a:pPr>
              <a:buNone/>
            </a:pPr>
            <a:endParaRPr lang="en-US" altLang="zh-CN" dirty="0"/>
          </a:p>
          <a:p>
            <a:pPr>
              <a:buNone/>
            </a:pPr>
            <a:r>
              <a:rPr lang="zh-CN" altLang="en-US" dirty="0"/>
              <a:t>  胸廓对称，双侧呼吸运动对称，左上肺呼吸音稍弱，余双肺呼吸音粗糙，双肺未闻及湿罗音，未闻及胸膜摩擦音。心率</a:t>
            </a:r>
            <a:r>
              <a:rPr lang="en-US" altLang="zh-CN" dirty="0"/>
              <a:t>102</a:t>
            </a:r>
            <a:r>
              <a:rPr lang="zh-CN" altLang="en-US" dirty="0"/>
              <a:t>次</a:t>
            </a:r>
            <a:r>
              <a:rPr lang="en-US" altLang="zh-CN" dirty="0"/>
              <a:t>/</a:t>
            </a:r>
            <a:r>
              <a:rPr lang="zh-CN" altLang="en-US" dirty="0"/>
              <a:t>分，心律齐，心音正常，心脏各瓣膜听诊区未闻及杂音。</a:t>
            </a:r>
            <a:endParaRPr lang="zh-CN" altLang="en-US" dirty="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组合 8"/>
          <p:cNvGrpSpPr/>
          <p:nvPr/>
        </p:nvGrpSpPr>
        <p:grpSpPr>
          <a:xfrm>
            <a:off x="6094088" y="926020"/>
            <a:ext cx="5459375" cy="4937312"/>
            <a:chOff x="479425" y="696302"/>
            <a:chExt cx="11236325" cy="724722"/>
          </a:xfrm>
        </p:grpSpPr>
        <p:sp>
          <p:nvSpPr>
            <p:cNvPr id="1048607" name="矩形 9"/>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32" name="直接连接符 12"/>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33" name="直接连接符 13"/>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grpSp>
        <p:nvGrpSpPr>
          <p:cNvPr id="82" name="组合 2"/>
          <p:cNvGrpSpPr/>
          <p:nvPr/>
        </p:nvGrpSpPr>
        <p:grpSpPr>
          <a:xfrm>
            <a:off x="513162" y="935666"/>
            <a:ext cx="5459375" cy="4937312"/>
            <a:chOff x="479425" y="696302"/>
            <a:chExt cx="11236325" cy="724722"/>
          </a:xfrm>
        </p:grpSpPr>
        <p:sp>
          <p:nvSpPr>
            <p:cNvPr id="1048608" name="矩形 3"/>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34" name="直接连接符 4"/>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35" name="直接连接符 5"/>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sp>
        <p:nvSpPr>
          <p:cNvPr id="1048609" name="标题 1"/>
          <p:cNvSpPr>
            <a:spLocks noGrp="1"/>
          </p:cNvSpPr>
          <p:nvPr>
            <p:ph type="title"/>
          </p:nvPr>
        </p:nvSpPr>
        <p:spPr>
          <a:xfrm>
            <a:off x="641498" y="0"/>
            <a:ext cx="10972800" cy="1143000"/>
          </a:xfrm>
        </p:spPr>
        <p:txBody>
          <a:bodyPr/>
          <a:lstStyle/>
          <a:p>
            <a:r>
              <a:rPr lang="zh-CN" altLang="en-US" dirty="0">
                <a:solidFill>
                  <a:srgbClr val="95358C"/>
                </a:solidFill>
              </a:rPr>
              <a:t>侵袭性真菌病疾病负担重；其中，霉菌感染患者病死率相对更高</a:t>
            </a:r>
            <a:endParaRPr lang="zh-CN" altLang="en-US" dirty="0"/>
          </a:p>
        </p:txBody>
      </p:sp>
      <p:sp>
        <p:nvSpPr>
          <p:cNvPr id="1048610" name="文本框 6"/>
          <p:cNvSpPr txBox="1"/>
          <p:nvPr/>
        </p:nvSpPr>
        <p:spPr>
          <a:xfrm>
            <a:off x="654518" y="935205"/>
            <a:ext cx="5267816" cy="888961"/>
          </a:xfrm>
          <a:prstGeom prst="rect">
            <a:avLst/>
          </a:prstGeom>
          <a:noFill/>
        </p:spPr>
        <p:txBody>
          <a:bodyPr wrap="square">
            <a:spAutoFit/>
          </a:bodyPr>
          <a:lstStyle/>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defRPr/>
            </a:pP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首项</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对全球真菌病年度发病率预测的研究报告显示：全球每年有</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超过</a:t>
            </a:r>
            <a:r>
              <a:rPr kumimoji="0" lang="en-US" altLang="zh-CN"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655</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万</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人发生严重的</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FD</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最终导致</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超过</a:t>
            </a:r>
            <a:r>
              <a:rPr kumimoji="0" lang="en-US" altLang="zh-CN"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375</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万人</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死亡</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a:t>
            </a:r>
            <a:endParaRPr kumimoji="0" lang="zh-CN" altLang="en-US"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11" name="文本框 7"/>
          <p:cNvSpPr txBox="1"/>
          <p:nvPr/>
        </p:nvSpPr>
        <p:spPr>
          <a:xfrm>
            <a:off x="1269320" y="1996018"/>
            <a:ext cx="453281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粗计全球因严重</a:t>
            </a:r>
            <a:r>
              <a:rPr kumimoji="0" lang="en-US" altLang="zh-CN" sz="12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IFD</a:t>
            </a:r>
            <a:r>
              <a:rPr kumimoji="0" lang="zh-CN" altLang="en-US" sz="12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而死亡的患者人数</a:t>
            </a:r>
            <a:endParaRPr kumimoji="0" lang="zh-CN" altLang="en-US" sz="12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12" name="任意多边形: 形状 10"/>
          <p:cNvSpPr/>
          <p:nvPr/>
        </p:nvSpPr>
        <p:spPr>
          <a:xfrm>
            <a:off x="1573985" y="2044323"/>
            <a:ext cx="448262" cy="166201"/>
          </a:xfrm>
          <a:custGeom>
            <a:avLst/>
            <a:gdLst>
              <a:gd name="connsiteX0" fmla="*/ 8566 w 977755"/>
              <a:gd name="connsiteY0" fmla="*/ 329059 h 361466"/>
              <a:gd name="connsiteX1" fmla="*/ 15632 w 977755"/>
              <a:gd name="connsiteY1" fmla="*/ 332842 h 361466"/>
              <a:gd name="connsiteX2" fmla="*/ 17060 w 977755"/>
              <a:gd name="connsiteY2" fmla="*/ 337625 h 361466"/>
              <a:gd name="connsiteX3" fmla="*/ 16417 w 977755"/>
              <a:gd name="connsiteY3" fmla="*/ 340979 h 361466"/>
              <a:gd name="connsiteX4" fmla="*/ 15632 w 977755"/>
              <a:gd name="connsiteY4" fmla="*/ 342407 h 361466"/>
              <a:gd name="connsiteX5" fmla="*/ 14633 w 977755"/>
              <a:gd name="connsiteY5" fmla="*/ 343620 h 361466"/>
              <a:gd name="connsiteX6" fmla="*/ 8566 w 977755"/>
              <a:gd name="connsiteY6" fmla="*/ 346119 h 361466"/>
              <a:gd name="connsiteX7" fmla="*/ 6852 w 977755"/>
              <a:gd name="connsiteY7" fmla="*/ 345976 h 361466"/>
              <a:gd name="connsiteX8" fmla="*/ 2498 w 977755"/>
              <a:gd name="connsiteY8" fmla="*/ 343620 h 361466"/>
              <a:gd name="connsiteX9" fmla="*/ 1428 w 977755"/>
              <a:gd name="connsiteY9" fmla="*/ 342336 h 361466"/>
              <a:gd name="connsiteX10" fmla="*/ 642 w 977755"/>
              <a:gd name="connsiteY10" fmla="*/ 340908 h 361466"/>
              <a:gd name="connsiteX11" fmla="*/ 143 w 977755"/>
              <a:gd name="connsiteY11" fmla="*/ 339338 h 361466"/>
              <a:gd name="connsiteX12" fmla="*/ 0 w 977755"/>
              <a:gd name="connsiteY12" fmla="*/ 337625 h 361466"/>
              <a:gd name="connsiteX13" fmla="*/ 143 w 977755"/>
              <a:gd name="connsiteY13" fmla="*/ 335911 h 361466"/>
              <a:gd name="connsiteX14" fmla="*/ 1428 w 977755"/>
              <a:gd name="connsiteY14" fmla="*/ 332842 h 361466"/>
              <a:gd name="connsiteX15" fmla="*/ 2498 w 977755"/>
              <a:gd name="connsiteY15" fmla="*/ 331557 h 361466"/>
              <a:gd name="connsiteX16" fmla="*/ 6852 w 977755"/>
              <a:gd name="connsiteY16" fmla="*/ 329202 h 361466"/>
              <a:gd name="connsiteX17" fmla="*/ 8566 w 977755"/>
              <a:gd name="connsiteY17" fmla="*/ 329059 h 361466"/>
              <a:gd name="connsiteX18" fmla="*/ 86939 w 977755"/>
              <a:gd name="connsiteY18" fmla="*/ 328060 h 361466"/>
              <a:gd name="connsiteX19" fmla="*/ 96433 w 977755"/>
              <a:gd name="connsiteY19" fmla="*/ 337554 h 361466"/>
              <a:gd name="connsiteX20" fmla="*/ 95719 w 977755"/>
              <a:gd name="connsiteY20" fmla="*/ 341265 h 361466"/>
              <a:gd name="connsiteX21" fmla="*/ 93578 w 977755"/>
              <a:gd name="connsiteY21" fmla="*/ 344263 h 361466"/>
              <a:gd name="connsiteX22" fmla="*/ 86868 w 977755"/>
              <a:gd name="connsiteY22" fmla="*/ 347047 h 361466"/>
              <a:gd name="connsiteX23" fmla="*/ 80158 w 977755"/>
              <a:gd name="connsiteY23" fmla="*/ 344263 h 361466"/>
              <a:gd name="connsiteX24" fmla="*/ 78160 w 977755"/>
              <a:gd name="connsiteY24" fmla="*/ 341265 h 361466"/>
              <a:gd name="connsiteX25" fmla="*/ 77446 w 977755"/>
              <a:gd name="connsiteY25" fmla="*/ 337554 h 361466"/>
              <a:gd name="connsiteX26" fmla="*/ 86939 w 977755"/>
              <a:gd name="connsiteY26" fmla="*/ 328060 h 361466"/>
              <a:gd name="connsiteX27" fmla="*/ 243903 w 977755"/>
              <a:gd name="connsiteY27" fmla="*/ 325990 h 361466"/>
              <a:gd name="connsiteX28" fmla="*/ 255538 w 977755"/>
              <a:gd name="connsiteY28" fmla="*/ 337625 h 361466"/>
              <a:gd name="connsiteX29" fmla="*/ 254610 w 977755"/>
              <a:gd name="connsiteY29" fmla="*/ 342122 h 361466"/>
              <a:gd name="connsiteX30" fmla="*/ 252111 w 977755"/>
              <a:gd name="connsiteY30" fmla="*/ 345834 h 361466"/>
              <a:gd name="connsiteX31" fmla="*/ 243903 w 977755"/>
              <a:gd name="connsiteY31" fmla="*/ 349260 h 361466"/>
              <a:gd name="connsiteX32" fmla="*/ 235694 w 977755"/>
              <a:gd name="connsiteY32" fmla="*/ 345834 h 361466"/>
              <a:gd name="connsiteX33" fmla="*/ 233196 w 977755"/>
              <a:gd name="connsiteY33" fmla="*/ 342122 h 361466"/>
              <a:gd name="connsiteX34" fmla="*/ 232268 w 977755"/>
              <a:gd name="connsiteY34" fmla="*/ 337625 h 361466"/>
              <a:gd name="connsiteX35" fmla="*/ 243903 w 977755"/>
              <a:gd name="connsiteY35" fmla="*/ 325990 h 361466"/>
              <a:gd name="connsiteX36" fmla="*/ 322349 w 977755"/>
              <a:gd name="connsiteY36" fmla="*/ 324705 h 361466"/>
              <a:gd name="connsiteX37" fmla="*/ 329559 w 977755"/>
              <a:gd name="connsiteY37" fmla="*/ 326918 h 361466"/>
              <a:gd name="connsiteX38" fmla="*/ 335198 w 977755"/>
              <a:gd name="connsiteY38" fmla="*/ 337625 h 361466"/>
              <a:gd name="connsiteX39" fmla="*/ 334198 w 977755"/>
              <a:gd name="connsiteY39" fmla="*/ 342621 h 361466"/>
              <a:gd name="connsiteX40" fmla="*/ 331414 w 977755"/>
              <a:gd name="connsiteY40" fmla="*/ 346690 h 361466"/>
              <a:gd name="connsiteX41" fmla="*/ 329559 w 977755"/>
              <a:gd name="connsiteY41" fmla="*/ 348260 h 361466"/>
              <a:gd name="connsiteX42" fmla="*/ 322349 w 977755"/>
              <a:gd name="connsiteY42" fmla="*/ 350473 h 361466"/>
              <a:gd name="connsiteX43" fmla="*/ 319780 w 977755"/>
              <a:gd name="connsiteY43" fmla="*/ 350188 h 361466"/>
              <a:gd name="connsiteX44" fmla="*/ 313284 w 977755"/>
              <a:gd name="connsiteY44" fmla="*/ 346690 h 361466"/>
              <a:gd name="connsiteX45" fmla="*/ 310500 w 977755"/>
              <a:gd name="connsiteY45" fmla="*/ 342621 h 361466"/>
              <a:gd name="connsiteX46" fmla="*/ 309501 w 977755"/>
              <a:gd name="connsiteY46" fmla="*/ 337625 h 361466"/>
              <a:gd name="connsiteX47" fmla="*/ 319780 w 977755"/>
              <a:gd name="connsiteY47" fmla="*/ 324990 h 361466"/>
              <a:gd name="connsiteX48" fmla="*/ 322349 w 977755"/>
              <a:gd name="connsiteY48" fmla="*/ 324705 h 361466"/>
              <a:gd name="connsiteX49" fmla="*/ 479098 w 977755"/>
              <a:gd name="connsiteY49" fmla="*/ 321707 h 361466"/>
              <a:gd name="connsiteX50" fmla="*/ 492232 w 977755"/>
              <a:gd name="connsiteY50" fmla="*/ 328702 h 361466"/>
              <a:gd name="connsiteX51" fmla="*/ 494944 w 977755"/>
              <a:gd name="connsiteY51" fmla="*/ 337553 h 361466"/>
              <a:gd name="connsiteX52" fmla="*/ 493731 w 977755"/>
              <a:gd name="connsiteY52" fmla="*/ 343692 h 361466"/>
              <a:gd name="connsiteX53" fmla="*/ 492303 w 977755"/>
              <a:gd name="connsiteY53" fmla="*/ 346404 h 361466"/>
              <a:gd name="connsiteX54" fmla="*/ 490304 w 977755"/>
              <a:gd name="connsiteY54" fmla="*/ 348760 h 361466"/>
              <a:gd name="connsiteX55" fmla="*/ 479098 w 977755"/>
              <a:gd name="connsiteY55" fmla="*/ 353400 h 361466"/>
              <a:gd name="connsiteX56" fmla="*/ 475886 w 977755"/>
              <a:gd name="connsiteY56" fmla="*/ 353043 h 361466"/>
              <a:gd name="connsiteX57" fmla="*/ 467891 w 977755"/>
              <a:gd name="connsiteY57" fmla="*/ 348760 h 361466"/>
              <a:gd name="connsiteX58" fmla="*/ 465964 w 977755"/>
              <a:gd name="connsiteY58" fmla="*/ 346404 h 361466"/>
              <a:gd name="connsiteX59" fmla="*/ 464536 w 977755"/>
              <a:gd name="connsiteY59" fmla="*/ 343692 h 361466"/>
              <a:gd name="connsiteX60" fmla="*/ 463608 w 977755"/>
              <a:gd name="connsiteY60" fmla="*/ 340694 h 361466"/>
              <a:gd name="connsiteX61" fmla="*/ 463323 w 977755"/>
              <a:gd name="connsiteY61" fmla="*/ 337482 h 361466"/>
              <a:gd name="connsiteX62" fmla="*/ 463608 w 977755"/>
              <a:gd name="connsiteY62" fmla="*/ 334270 h 361466"/>
              <a:gd name="connsiteX63" fmla="*/ 465964 w 977755"/>
              <a:gd name="connsiteY63" fmla="*/ 328631 h 361466"/>
              <a:gd name="connsiteX64" fmla="*/ 467891 w 977755"/>
              <a:gd name="connsiteY64" fmla="*/ 326275 h 361466"/>
              <a:gd name="connsiteX65" fmla="*/ 475886 w 977755"/>
              <a:gd name="connsiteY65" fmla="*/ 321993 h 361466"/>
              <a:gd name="connsiteX66" fmla="*/ 479098 w 977755"/>
              <a:gd name="connsiteY66" fmla="*/ 321707 h 361466"/>
              <a:gd name="connsiteX67" fmla="*/ 557687 w 977755"/>
              <a:gd name="connsiteY67" fmla="*/ 320066 h 361466"/>
              <a:gd name="connsiteX68" fmla="*/ 575175 w 977755"/>
              <a:gd name="connsiteY68" fmla="*/ 337554 h 361466"/>
              <a:gd name="connsiteX69" fmla="*/ 573819 w 977755"/>
              <a:gd name="connsiteY69" fmla="*/ 344406 h 361466"/>
              <a:gd name="connsiteX70" fmla="*/ 570178 w 977755"/>
              <a:gd name="connsiteY70" fmla="*/ 349974 h 361466"/>
              <a:gd name="connsiteX71" fmla="*/ 557758 w 977755"/>
              <a:gd name="connsiteY71" fmla="*/ 355113 h 361466"/>
              <a:gd name="connsiteX72" fmla="*/ 545338 w 977755"/>
              <a:gd name="connsiteY72" fmla="*/ 349974 h 361466"/>
              <a:gd name="connsiteX73" fmla="*/ 541555 w 977755"/>
              <a:gd name="connsiteY73" fmla="*/ 344406 h 361466"/>
              <a:gd name="connsiteX74" fmla="*/ 540199 w 977755"/>
              <a:gd name="connsiteY74" fmla="*/ 337554 h 361466"/>
              <a:gd name="connsiteX75" fmla="*/ 557687 w 977755"/>
              <a:gd name="connsiteY75" fmla="*/ 320066 h 361466"/>
              <a:gd name="connsiteX76" fmla="*/ 714579 w 977755"/>
              <a:gd name="connsiteY76" fmla="*/ 316140 h 361466"/>
              <a:gd name="connsiteX77" fmla="*/ 736064 w 977755"/>
              <a:gd name="connsiteY77" fmla="*/ 337625 h 361466"/>
              <a:gd name="connsiteX78" fmla="*/ 734351 w 977755"/>
              <a:gd name="connsiteY78" fmla="*/ 345977 h 361466"/>
              <a:gd name="connsiteX79" fmla="*/ 729854 w 977755"/>
              <a:gd name="connsiteY79" fmla="*/ 352829 h 361466"/>
              <a:gd name="connsiteX80" fmla="*/ 714651 w 977755"/>
              <a:gd name="connsiteY80" fmla="*/ 359111 h 361466"/>
              <a:gd name="connsiteX81" fmla="*/ 699447 w 977755"/>
              <a:gd name="connsiteY81" fmla="*/ 352829 h 361466"/>
              <a:gd name="connsiteX82" fmla="*/ 694807 w 977755"/>
              <a:gd name="connsiteY82" fmla="*/ 345977 h 361466"/>
              <a:gd name="connsiteX83" fmla="*/ 693094 w 977755"/>
              <a:gd name="connsiteY83" fmla="*/ 337625 h 361466"/>
              <a:gd name="connsiteX84" fmla="*/ 714579 w 977755"/>
              <a:gd name="connsiteY84" fmla="*/ 316140 h 361466"/>
              <a:gd name="connsiteX85" fmla="*/ 793025 w 977755"/>
              <a:gd name="connsiteY85" fmla="*/ 313784 h 361466"/>
              <a:gd name="connsiteX86" fmla="*/ 806373 w 977755"/>
              <a:gd name="connsiteY86" fmla="*/ 317853 h 361466"/>
              <a:gd name="connsiteX87" fmla="*/ 816865 w 977755"/>
              <a:gd name="connsiteY87" fmla="*/ 337625 h 361466"/>
              <a:gd name="connsiteX88" fmla="*/ 815010 w 977755"/>
              <a:gd name="connsiteY88" fmla="*/ 346904 h 361466"/>
              <a:gd name="connsiteX89" fmla="*/ 809870 w 977755"/>
              <a:gd name="connsiteY89" fmla="*/ 354470 h 361466"/>
              <a:gd name="connsiteX90" fmla="*/ 806373 w 977755"/>
              <a:gd name="connsiteY90" fmla="*/ 357397 h 361466"/>
              <a:gd name="connsiteX91" fmla="*/ 793025 w 977755"/>
              <a:gd name="connsiteY91" fmla="*/ 361466 h 361466"/>
              <a:gd name="connsiteX92" fmla="*/ 788242 w 977755"/>
              <a:gd name="connsiteY92" fmla="*/ 360966 h 361466"/>
              <a:gd name="connsiteX93" fmla="*/ 776179 w 977755"/>
              <a:gd name="connsiteY93" fmla="*/ 354470 h 361466"/>
              <a:gd name="connsiteX94" fmla="*/ 771040 w 977755"/>
              <a:gd name="connsiteY94" fmla="*/ 346904 h 361466"/>
              <a:gd name="connsiteX95" fmla="*/ 769184 w 977755"/>
              <a:gd name="connsiteY95" fmla="*/ 337625 h 361466"/>
              <a:gd name="connsiteX96" fmla="*/ 788242 w 977755"/>
              <a:gd name="connsiteY96" fmla="*/ 314284 h 361466"/>
              <a:gd name="connsiteX97" fmla="*/ 793025 w 977755"/>
              <a:gd name="connsiteY97" fmla="*/ 313784 h 361466"/>
              <a:gd name="connsiteX98" fmla="*/ 47753 w 977755"/>
              <a:gd name="connsiteY98" fmla="*/ 289372 h 361466"/>
              <a:gd name="connsiteX99" fmla="*/ 56747 w 977755"/>
              <a:gd name="connsiteY99" fmla="*/ 298366 h 361466"/>
              <a:gd name="connsiteX100" fmla="*/ 47753 w 977755"/>
              <a:gd name="connsiteY100" fmla="*/ 307360 h 361466"/>
              <a:gd name="connsiteX101" fmla="*/ 38759 w 977755"/>
              <a:gd name="connsiteY101" fmla="*/ 298366 h 361466"/>
              <a:gd name="connsiteX102" fmla="*/ 47753 w 977755"/>
              <a:gd name="connsiteY102" fmla="*/ 289372 h 361466"/>
              <a:gd name="connsiteX103" fmla="*/ 126198 w 977755"/>
              <a:gd name="connsiteY103" fmla="*/ 288373 h 361466"/>
              <a:gd name="connsiteX104" fmla="*/ 136191 w 977755"/>
              <a:gd name="connsiteY104" fmla="*/ 298366 h 361466"/>
              <a:gd name="connsiteX105" fmla="*/ 126198 w 977755"/>
              <a:gd name="connsiteY105" fmla="*/ 308359 h 361466"/>
              <a:gd name="connsiteX106" fmla="*/ 116205 w 977755"/>
              <a:gd name="connsiteY106" fmla="*/ 298366 h 361466"/>
              <a:gd name="connsiteX107" fmla="*/ 126198 w 977755"/>
              <a:gd name="connsiteY107" fmla="*/ 288373 h 361466"/>
              <a:gd name="connsiteX108" fmla="*/ 283162 w 977755"/>
              <a:gd name="connsiteY108" fmla="*/ 286160 h 361466"/>
              <a:gd name="connsiteX109" fmla="*/ 295368 w 977755"/>
              <a:gd name="connsiteY109" fmla="*/ 298366 h 361466"/>
              <a:gd name="connsiteX110" fmla="*/ 283162 w 977755"/>
              <a:gd name="connsiteY110" fmla="*/ 310572 h 361466"/>
              <a:gd name="connsiteX111" fmla="*/ 270956 w 977755"/>
              <a:gd name="connsiteY111" fmla="*/ 298366 h 361466"/>
              <a:gd name="connsiteX112" fmla="*/ 283162 w 977755"/>
              <a:gd name="connsiteY112" fmla="*/ 286160 h 361466"/>
              <a:gd name="connsiteX113" fmla="*/ 361536 w 977755"/>
              <a:gd name="connsiteY113" fmla="*/ 284804 h 361466"/>
              <a:gd name="connsiteX114" fmla="*/ 375098 w 977755"/>
              <a:gd name="connsiteY114" fmla="*/ 298366 h 361466"/>
              <a:gd name="connsiteX115" fmla="*/ 361536 w 977755"/>
              <a:gd name="connsiteY115" fmla="*/ 311928 h 361466"/>
              <a:gd name="connsiteX116" fmla="*/ 347974 w 977755"/>
              <a:gd name="connsiteY116" fmla="*/ 298366 h 361466"/>
              <a:gd name="connsiteX117" fmla="*/ 361536 w 977755"/>
              <a:gd name="connsiteY117" fmla="*/ 284804 h 361466"/>
              <a:gd name="connsiteX118" fmla="*/ 518428 w 977755"/>
              <a:gd name="connsiteY118" fmla="*/ 281735 h 361466"/>
              <a:gd name="connsiteX119" fmla="*/ 535060 w 977755"/>
              <a:gd name="connsiteY119" fmla="*/ 298366 h 361466"/>
              <a:gd name="connsiteX120" fmla="*/ 518428 w 977755"/>
              <a:gd name="connsiteY120" fmla="*/ 314998 h 361466"/>
              <a:gd name="connsiteX121" fmla="*/ 501797 w 977755"/>
              <a:gd name="connsiteY121" fmla="*/ 298366 h 361466"/>
              <a:gd name="connsiteX122" fmla="*/ 518428 w 977755"/>
              <a:gd name="connsiteY122" fmla="*/ 281735 h 361466"/>
              <a:gd name="connsiteX123" fmla="*/ 596946 w 977755"/>
              <a:gd name="connsiteY123" fmla="*/ 279950 h 361466"/>
              <a:gd name="connsiteX124" fmla="*/ 615362 w 977755"/>
              <a:gd name="connsiteY124" fmla="*/ 298366 h 361466"/>
              <a:gd name="connsiteX125" fmla="*/ 596946 w 977755"/>
              <a:gd name="connsiteY125" fmla="*/ 316782 h 361466"/>
              <a:gd name="connsiteX126" fmla="*/ 578530 w 977755"/>
              <a:gd name="connsiteY126" fmla="*/ 298366 h 361466"/>
              <a:gd name="connsiteX127" fmla="*/ 596946 w 977755"/>
              <a:gd name="connsiteY127" fmla="*/ 279950 h 361466"/>
              <a:gd name="connsiteX128" fmla="*/ 753766 w 977755"/>
              <a:gd name="connsiteY128" fmla="*/ 275739 h 361466"/>
              <a:gd name="connsiteX129" fmla="*/ 776394 w 977755"/>
              <a:gd name="connsiteY129" fmla="*/ 298366 h 361466"/>
              <a:gd name="connsiteX130" fmla="*/ 753766 w 977755"/>
              <a:gd name="connsiteY130" fmla="*/ 320994 h 361466"/>
              <a:gd name="connsiteX131" fmla="*/ 731139 w 977755"/>
              <a:gd name="connsiteY131" fmla="*/ 298366 h 361466"/>
              <a:gd name="connsiteX132" fmla="*/ 753766 w 977755"/>
              <a:gd name="connsiteY132" fmla="*/ 275739 h 361466"/>
              <a:gd name="connsiteX133" fmla="*/ 832283 w 977755"/>
              <a:gd name="connsiteY133" fmla="*/ 273241 h 361466"/>
              <a:gd name="connsiteX134" fmla="*/ 857337 w 977755"/>
              <a:gd name="connsiteY134" fmla="*/ 298367 h 361466"/>
              <a:gd name="connsiteX135" fmla="*/ 832283 w 977755"/>
              <a:gd name="connsiteY135" fmla="*/ 323421 h 361466"/>
              <a:gd name="connsiteX136" fmla="*/ 807229 w 977755"/>
              <a:gd name="connsiteY136" fmla="*/ 298367 h 361466"/>
              <a:gd name="connsiteX137" fmla="*/ 832283 w 977755"/>
              <a:gd name="connsiteY137" fmla="*/ 273241 h 361466"/>
              <a:gd name="connsiteX138" fmla="*/ 86939 w 977755"/>
              <a:gd name="connsiteY138" fmla="*/ 249685 h 361466"/>
              <a:gd name="connsiteX139" fmla="*/ 96433 w 977755"/>
              <a:gd name="connsiteY139" fmla="*/ 259179 h 361466"/>
              <a:gd name="connsiteX140" fmla="*/ 86939 w 977755"/>
              <a:gd name="connsiteY140" fmla="*/ 268672 h 361466"/>
              <a:gd name="connsiteX141" fmla="*/ 77446 w 977755"/>
              <a:gd name="connsiteY141" fmla="*/ 259179 h 361466"/>
              <a:gd name="connsiteX142" fmla="*/ 86939 w 977755"/>
              <a:gd name="connsiteY142" fmla="*/ 249685 h 361466"/>
              <a:gd name="connsiteX143" fmla="*/ 165457 w 977755"/>
              <a:gd name="connsiteY143" fmla="*/ 248686 h 361466"/>
              <a:gd name="connsiteX144" fmla="*/ 174165 w 977755"/>
              <a:gd name="connsiteY144" fmla="*/ 253326 h 361466"/>
              <a:gd name="connsiteX145" fmla="*/ 175950 w 977755"/>
              <a:gd name="connsiteY145" fmla="*/ 259179 h 361466"/>
              <a:gd name="connsiteX146" fmla="*/ 174165 w 977755"/>
              <a:gd name="connsiteY146" fmla="*/ 265032 h 361466"/>
              <a:gd name="connsiteX147" fmla="*/ 165457 w 977755"/>
              <a:gd name="connsiteY147" fmla="*/ 269814 h 361466"/>
              <a:gd name="connsiteX148" fmla="*/ 163315 w 977755"/>
              <a:gd name="connsiteY148" fmla="*/ 269600 h 361466"/>
              <a:gd name="connsiteX149" fmla="*/ 158033 w 977755"/>
              <a:gd name="connsiteY149" fmla="*/ 266745 h 361466"/>
              <a:gd name="connsiteX150" fmla="*/ 156748 w 977755"/>
              <a:gd name="connsiteY150" fmla="*/ 265175 h 361466"/>
              <a:gd name="connsiteX151" fmla="*/ 155178 w 977755"/>
              <a:gd name="connsiteY151" fmla="*/ 261392 h 361466"/>
              <a:gd name="connsiteX152" fmla="*/ 154964 w 977755"/>
              <a:gd name="connsiteY152" fmla="*/ 259250 h 361466"/>
              <a:gd name="connsiteX153" fmla="*/ 155178 w 977755"/>
              <a:gd name="connsiteY153" fmla="*/ 257109 h 361466"/>
              <a:gd name="connsiteX154" fmla="*/ 156748 w 977755"/>
              <a:gd name="connsiteY154" fmla="*/ 253326 h 361466"/>
              <a:gd name="connsiteX155" fmla="*/ 158033 w 977755"/>
              <a:gd name="connsiteY155" fmla="*/ 251755 h 361466"/>
              <a:gd name="connsiteX156" fmla="*/ 163315 w 977755"/>
              <a:gd name="connsiteY156" fmla="*/ 248900 h 361466"/>
              <a:gd name="connsiteX157" fmla="*/ 165457 w 977755"/>
              <a:gd name="connsiteY157" fmla="*/ 248686 h 361466"/>
              <a:gd name="connsiteX158" fmla="*/ 322349 w 977755"/>
              <a:gd name="connsiteY158" fmla="*/ 246259 h 361466"/>
              <a:gd name="connsiteX159" fmla="*/ 329559 w 977755"/>
              <a:gd name="connsiteY159" fmla="*/ 248472 h 361466"/>
              <a:gd name="connsiteX160" fmla="*/ 335198 w 977755"/>
              <a:gd name="connsiteY160" fmla="*/ 259179 h 361466"/>
              <a:gd name="connsiteX161" fmla="*/ 329559 w 977755"/>
              <a:gd name="connsiteY161" fmla="*/ 269886 h 361466"/>
              <a:gd name="connsiteX162" fmla="*/ 322349 w 977755"/>
              <a:gd name="connsiteY162" fmla="*/ 272098 h 361466"/>
              <a:gd name="connsiteX163" fmla="*/ 319780 w 977755"/>
              <a:gd name="connsiteY163" fmla="*/ 271813 h 361466"/>
              <a:gd name="connsiteX164" fmla="*/ 309501 w 977755"/>
              <a:gd name="connsiteY164" fmla="*/ 259179 h 361466"/>
              <a:gd name="connsiteX165" fmla="*/ 319780 w 977755"/>
              <a:gd name="connsiteY165" fmla="*/ 246545 h 361466"/>
              <a:gd name="connsiteX166" fmla="*/ 322349 w 977755"/>
              <a:gd name="connsiteY166" fmla="*/ 246259 h 361466"/>
              <a:gd name="connsiteX167" fmla="*/ 400795 w 977755"/>
              <a:gd name="connsiteY167" fmla="*/ 244903 h 361466"/>
              <a:gd name="connsiteX168" fmla="*/ 415071 w 977755"/>
              <a:gd name="connsiteY168" fmla="*/ 259179 h 361466"/>
              <a:gd name="connsiteX169" fmla="*/ 400795 w 977755"/>
              <a:gd name="connsiteY169" fmla="*/ 273455 h 361466"/>
              <a:gd name="connsiteX170" fmla="*/ 386519 w 977755"/>
              <a:gd name="connsiteY170" fmla="*/ 259179 h 361466"/>
              <a:gd name="connsiteX171" fmla="*/ 400795 w 977755"/>
              <a:gd name="connsiteY171" fmla="*/ 244903 h 361466"/>
              <a:gd name="connsiteX172" fmla="*/ 557687 w 977755"/>
              <a:gd name="connsiteY172" fmla="*/ 241691 h 361466"/>
              <a:gd name="connsiteX173" fmla="*/ 575175 w 977755"/>
              <a:gd name="connsiteY173" fmla="*/ 259179 h 361466"/>
              <a:gd name="connsiteX174" fmla="*/ 557687 w 977755"/>
              <a:gd name="connsiteY174" fmla="*/ 276667 h 361466"/>
              <a:gd name="connsiteX175" fmla="*/ 540199 w 977755"/>
              <a:gd name="connsiteY175" fmla="*/ 259179 h 361466"/>
              <a:gd name="connsiteX176" fmla="*/ 557687 w 977755"/>
              <a:gd name="connsiteY176" fmla="*/ 241691 h 361466"/>
              <a:gd name="connsiteX177" fmla="*/ 636061 w 977755"/>
              <a:gd name="connsiteY177" fmla="*/ 239764 h 361466"/>
              <a:gd name="connsiteX178" fmla="*/ 652193 w 977755"/>
              <a:gd name="connsiteY178" fmla="*/ 248330 h 361466"/>
              <a:gd name="connsiteX179" fmla="*/ 655476 w 977755"/>
              <a:gd name="connsiteY179" fmla="*/ 259179 h 361466"/>
              <a:gd name="connsiteX180" fmla="*/ 652193 w 977755"/>
              <a:gd name="connsiteY180" fmla="*/ 270029 h 361466"/>
              <a:gd name="connsiteX181" fmla="*/ 636061 w 977755"/>
              <a:gd name="connsiteY181" fmla="*/ 278594 h 361466"/>
              <a:gd name="connsiteX182" fmla="*/ 632135 w 977755"/>
              <a:gd name="connsiteY182" fmla="*/ 278166 h 361466"/>
              <a:gd name="connsiteX183" fmla="*/ 622356 w 977755"/>
              <a:gd name="connsiteY183" fmla="*/ 272884 h 361466"/>
              <a:gd name="connsiteX184" fmla="*/ 620001 w 977755"/>
              <a:gd name="connsiteY184" fmla="*/ 270029 h 361466"/>
              <a:gd name="connsiteX185" fmla="*/ 617074 w 977755"/>
              <a:gd name="connsiteY185" fmla="*/ 263105 h 361466"/>
              <a:gd name="connsiteX186" fmla="*/ 616646 w 977755"/>
              <a:gd name="connsiteY186" fmla="*/ 259179 h 361466"/>
              <a:gd name="connsiteX187" fmla="*/ 617074 w 977755"/>
              <a:gd name="connsiteY187" fmla="*/ 255253 h 361466"/>
              <a:gd name="connsiteX188" fmla="*/ 620001 w 977755"/>
              <a:gd name="connsiteY188" fmla="*/ 248330 h 361466"/>
              <a:gd name="connsiteX189" fmla="*/ 622356 w 977755"/>
              <a:gd name="connsiteY189" fmla="*/ 245474 h 361466"/>
              <a:gd name="connsiteX190" fmla="*/ 632135 w 977755"/>
              <a:gd name="connsiteY190" fmla="*/ 240192 h 361466"/>
              <a:gd name="connsiteX191" fmla="*/ 636061 w 977755"/>
              <a:gd name="connsiteY191" fmla="*/ 239764 h 361466"/>
              <a:gd name="connsiteX192" fmla="*/ 793025 w 977755"/>
              <a:gd name="connsiteY192" fmla="*/ 235338 h 361466"/>
              <a:gd name="connsiteX193" fmla="*/ 806373 w 977755"/>
              <a:gd name="connsiteY193" fmla="*/ 239407 h 361466"/>
              <a:gd name="connsiteX194" fmla="*/ 816865 w 977755"/>
              <a:gd name="connsiteY194" fmla="*/ 259179 h 361466"/>
              <a:gd name="connsiteX195" fmla="*/ 806373 w 977755"/>
              <a:gd name="connsiteY195" fmla="*/ 278951 h 361466"/>
              <a:gd name="connsiteX196" fmla="*/ 793025 w 977755"/>
              <a:gd name="connsiteY196" fmla="*/ 283020 h 361466"/>
              <a:gd name="connsiteX197" fmla="*/ 788242 w 977755"/>
              <a:gd name="connsiteY197" fmla="*/ 282520 h 361466"/>
              <a:gd name="connsiteX198" fmla="*/ 769184 w 977755"/>
              <a:gd name="connsiteY198" fmla="*/ 259179 h 361466"/>
              <a:gd name="connsiteX199" fmla="*/ 788242 w 977755"/>
              <a:gd name="connsiteY199" fmla="*/ 235838 h 361466"/>
              <a:gd name="connsiteX200" fmla="*/ 793025 w 977755"/>
              <a:gd name="connsiteY200" fmla="*/ 235338 h 361466"/>
              <a:gd name="connsiteX201" fmla="*/ 871470 w 977755"/>
              <a:gd name="connsiteY201" fmla="*/ 232768 h 361466"/>
              <a:gd name="connsiteX202" fmla="*/ 897881 w 977755"/>
              <a:gd name="connsiteY202" fmla="*/ 259178 h 361466"/>
              <a:gd name="connsiteX203" fmla="*/ 871470 w 977755"/>
              <a:gd name="connsiteY203" fmla="*/ 285589 h 361466"/>
              <a:gd name="connsiteX204" fmla="*/ 845060 w 977755"/>
              <a:gd name="connsiteY204" fmla="*/ 259178 h 361466"/>
              <a:gd name="connsiteX205" fmla="*/ 871470 w 977755"/>
              <a:gd name="connsiteY205" fmla="*/ 232768 h 361466"/>
              <a:gd name="connsiteX206" fmla="*/ 126198 w 977755"/>
              <a:gd name="connsiteY206" fmla="*/ 209927 h 361466"/>
              <a:gd name="connsiteX207" fmla="*/ 136191 w 977755"/>
              <a:gd name="connsiteY207" fmla="*/ 219920 h 361466"/>
              <a:gd name="connsiteX208" fmla="*/ 126198 w 977755"/>
              <a:gd name="connsiteY208" fmla="*/ 229913 h 361466"/>
              <a:gd name="connsiteX209" fmla="*/ 116205 w 977755"/>
              <a:gd name="connsiteY209" fmla="*/ 219920 h 361466"/>
              <a:gd name="connsiteX210" fmla="*/ 126198 w 977755"/>
              <a:gd name="connsiteY210" fmla="*/ 209927 h 361466"/>
              <a:gd name="connsiteX211" fmla="*/ 204644 w 977755"/>
              <a:gd name="connsiteY211" fmla="*/ 208856 h 361466"/>
              <a:gd name="connsiteX212" fmla="*/ 215708 w 977755"/>
              <a:gd name="connsiteY212" fmla="*/ 219920 h 361466"/>
              <a:gd name="connsiteX213" fmla="*/ 204644 w 977755"/>
              <a:gd name="connsiteY213" fmla="*/ 230984 h 361466"/>
              <a:gd name="connsiteX214" fmla="*/ 193580 w 977755"/>
              <a:gd name="connsiteY214" fmla="*/ 219920 h 361466"/>
              <a:gd name="connsiteX215" fmla="*/ 204644 w 977755"/>
              <a:gd name="connsiteY215" fmla="*/ 208856 h 361466"/>
              <a:gd name="connsiteX216" fmla="*/ 361536 w 977755"/>
              <a:gd name="connsiteY216" fmla="*/ 206358 h 361466"/>
              <a:gd name="connsiteX217" fmla="*/ 375098 w 977755"/>
              <a:gd name="connsiteY217" fmla="*/ 219920 h 361466"/>
              <a:gd name="connsiteX218" fmla="*/ 361536 w 977755"/>
              <a:gd name="connsiteY218" fmla="*/ 233482 h 361466"/>
              <a:gd name="connsiteX219" fmla="*/ 347974 w 977755"/>
              <a:gd name="connsiteY219" fmla="*/ 219920 h 361466"/>
              <a:gd name="connsiteX220" fmla="*/ 361536 w 977755"/>
              <a:gd name="connsiteY220" fmla="*/ 206358 h 361466"/>
              <a:gd name="connsiteX221" fmla="*/ 440054 w 977755"/>
              <a:gd name="connsiteY221" fmla="*/ 204930 h 361466"/>
              <a:gd name="connsiteX222" fmla="*/ 455043 w 977755"/>
              <a:gd name="connsiteY222" fmla="*/ 219920 h 361466"/>
              <a:gd name="connsiteX223" fmla="*/ 440054 w 977755"/>
              <a:gd name="connsiteY223" fmla="*/ 234909 h 361466"/>
              <a:gd name="connsiteX224" fmla="*/ 425064 w 977755"/>
              <a:gd name="connsiteY224" fmla="*/ 219920 h 361466"/>
              <a:gd name="connsiteX225" fmla="*/ 440054 w 977755"/>
              <a:gd name="connsiteY225" fmla="*/ 204930 h 361466"/>
              <a:gd name="connsiteX226" fmla="*/ 596946 w 977755"/>
              <a:gd name="connsiteY226" fmla="*/ 201504 h 361466"/>
              <a:gd name="connsiteX227" fmla="*/ 615362 w 977755"/>
              <a:gd name="connsiteY227" fmla="*/ 219920 h 361466"/>
              <a:gd name="connsiteX228" fmla="*/ 596946 w 977755"/>
              <a:gd name="connsiteY228" fmla="*/ 238336 h 361466"/>
              <a:gd name="connsiteX229" fmla="*/ 578530 w 977755"/>
              <a:gd name="connsiteY229" fmla="*/ 219920 h 361466"/>
              <a:gd name="connsiteX230" fmla="*/ 596946 w 977755"/>
              <a:gd name="connsiteY230" fmla="*/ 201504 h 361466"/>
              <a:gd name="connsiteX231" fmla="*/ 675321 w 977755"/>
              <a:gd name="connsiteY231" fmla="*/ 199506 h 361466"/>
              <a:gd name="connsiteX232" fmla="*/ 695735 w 977755"/>
              <a:gd name="connsiteY232" fmla="*/ 219921 h 361466"/>
              <a:gd name="connsiteX233" fmla="*/ 675321 w 977755"/>
              <a:gd name="connsiteY233" fmla="*/ 240335 h 361466"/>
              <a:gd name="connsiteX234" fmla="*/ 654906 w 977755"/>
              <a:gd name="connsiteY234" fmla="*/ 219921 h 361466"/>
              <a:gd name="connsiteX235" fmla="*/ 675321 w 977755"/>
              <a:gd name="connsiteY235" fmla="*/ 199506 h 361466"/>
              <a:gd name="connsiteX236" fmla="*/ 832283 w 977755"/>
              <a:gd name="connsiteY236" fmla="*/ 194866 h 361466"/>
              <a:gd name="connsiteX237" fmla="*/ 857337 w 977755"/>
              <a:gd name="connsiteY237" fmla="*/ 219920 h 361466"/>
              <a:gd name="connsiteX238" fmla="*/ 832283 w 977755"/>
              <a:gd name="connsiteY238" fmla="*/ 245046 h 361466"/>
              <a:gd name="connsiteX239" fmla="*/ 807229 w 977755"/>
              <a:gd name="connsiteY239" fmla="*/ 219920 h 361466"/>
              <a:gd name="connsiteX240" fmla="*/ 832283 w 977755"/>
              <a:gd name="connsiteY240" fmla="*/ 194866 h 361466"/>
              <a:gd name="connsiteX241" fmla="*/ 165529 w 977755"/>
              <a:gd name="connsiteY241" fmla="*/ 170240 h 361466"/>
              <a:gd name="connsiteX242" fmla="*/ 174237 w 977755"/>
              <a:gd name="connsiteY242" fmla="*/ 174880 h 361466"/>
              <a:gd name="connsiteX243" fmla="*/ 176022 w 977755"/>
              <a:gd name="connsiteY243" fmla="*/ 180733 h 361466"/>
              <a:gd name="connsiteX244" fmla="*/ 175165 w 977755"/>
              <a:gd name="connsiteY244" fmla="*/ 184801 h 361466"/>
              <a:gd name="connsiteX245" fmla="*/ 174166 w 977755"/>
              <a:gd name="connsiteY245" fmla="*/ 186586 h 361466"/>
              <a:gd name="connsiteX246" fmla="*/ 173024 w 977755"/>
              <a:gd name="connsiteY246" fmla="*/ 188299 h 361466"/>
              <a:gd name="connsiteX247" fmla="*/ 165600 w 977755"/>
              <a:gd name="connsiteY247" fmla="*/ 191368 h 361466"/>
              <a:gd name="connsiteX248" fmla="*/ 163459 w 977755"/>
              <a:gd name="connsiteY248" fmla="*/ 191154 h 361466"/>
              <a:gd name="connsiteX249" fmla="*/ 158177 w 977755"/>
              <a:gd name="connsiteY249" fmla="*/ 188299 h 361466"/>
              <a:gd name="connsiteX250" fmla="*/ 156892 w 977755"/>
              <a:gd name="connsiteY250" fmla="*/ 186729 h 361466"/>
              <a:gd name="connsiteX251" fmla="*/ 155893 w 977755"/>
              <a:gd name="connsiteY251" fmla="*/ 184944 h 361466"/>
              <a:gd name="connsiteX252" fmla="*/ 155250 w 977755"/>
              <a:gd name="connsiteY252" fmla="*/ 182946 h 361466"/>
              <a:gd name="connsiteX253" fmla="*/ 155036 w 977755"/>
              <a:gd name="connsiteY253" fmla="*/ 180804 h 361466"/>
              <a:gd name="connsiteX254" fmla="*/ 155250 w 977755"/>
              <a:gd name="connsiteY254" fmla="*/ 178663 h 361466"/>
              <a:gd name="connsiteX255" fmla="*/ 156820 w 977755"/>
              <a:gd name="connsiteY255" fmla="*/ 174880 h 361466"/>
              <a:gd name="connsiteX256" fmla="*/ 158105 w 977755"/>
              <a:gd name="connsiteY256" fmla="*/ 173309 h 361466"/>
              <a:gd name="connsiteX257" fmla="*/ 163387 w 977755"/>
              <a:gd name="connsiteY257" fmla="*/ 170454 h 361466"/>
              <a:gd name="connsiteX258" fmla="*/ 165529 w 977755"/>
              <a:gd name="connsiteY258" fmla="*/ 170240 h 361466"/>
              <a:gd name="connsiteX259" fmla="*/ 243903 w 977755"/>
              <a:gd name="connsiteY259" fmla="*/ 169098 h 361466"/>
              <a:gd name="connsiteX260" fmla="*/ 255538 w 977755"/>
              <a:gd name="connsiteY260" fmla="*/ 180733 h 361466"/>
              <a:gd name="connsiteX261" fmla="*/ 254610 w 977755"/>
              <a:gd name="connsiteY261" fmla="*/ 185230 h 361466"/>
              <a:gd name="connsiteX262" fmla="*/ 252111 w 977755"/>
              <a:gd name="connsiteY262" fmla="*/ 188942 h 361466"/>
              <a:gd name="connsiteX263" fmla="*/ 243903 w 977755"/>
              <a:gd name="connsiteY263" fmla="*/ 192368 h 361466"/>
              <a:gd name="connsiteX264" fmla="*/ 235694 w 977755"/>
              <a:gd name="connsiteY264" fmla="*/ 188942 h 361466"/>
              <a:gd name="connsiteX265" fmla="*/ 233196 w 977755"/>
              <a:gd name="connsiteY265" fmla="*/ 185230 h 361466"/>
              <a:gd name="connsiteX266" fmla="*/ 232268 w 977755"/>
              <a:gd name="connsiteY266" fmla="*/ 180733 h 361466"/>
              <a:gd name="connsiteX267" fmla="*/ 243903 w 977755"/>
              <a:gd name="connsiteY267" fmla="*/ 169098 h 361466"/>
              <a:gd name="connsiteX268" fmla="*/ 400795 w 977755"/>
              <a:gd name="connsiteY268" fmla="*/ 166385 h 361466"/>
              <a:gd name="connsiteX269" fmla="*/ 415071 w 977755"/>
              <a:gd name="connsiteY269" fmla="*/ 180661 h 361466"/>
              <a:gd name="connsiteX270" fmla="*/ 413929 w 977755"/>
              <a:gd name="connsiteY270" fmla="*/ 186229 h 361466"/>
              <a:gd name="connsiteX271" fmla="*/ 410859 w 977755"/>
              <a:gd name="connsiteY271" fmla="*/ 190797 h 361466"/>
              <a:gd name="connsiteX272" fmla="*/ 400795 w 977755"/>
              <a:gd name="connsiteY272" fmla="*/ 195008 h 361466"/>
              <a:gd name="connsiteX273" fmla="*/ 390730 w 977755"/>
              <a:gd name="connsiteY273" fmla="*/ 190797 h 361466"/>
              <a:gd name="connsiteX274" fmla="*/ 387661 w 977755"/>
              <a:gd name="connsiteY274" fmla="*/ 186229 h 361466"/>
              <a:gd name="connsiteX275" fmla="*/ 386519 w 977755"/>
              <a:gd name="connsiteY275" fmla="*/ 180661 h 361466"/>
              <a:gd name="connsiteX276" fmla="*/ 400795 w 977755"/>
              <a:gd name="connsiteY276" fmla="*/ 166385 h 361466"/>
              <a:gd name="connsiteX277" fmla="*/ 479098 w 977755"/>
              <a:gd name="connsiteY277" fmla="*/ 164815 h 361466"/>
              <a:gd name="connsiteX278" fmla="*/ 492232 w 977755"/>
              <a:gd name="connsiteY278" fmla="*/ 171810 h 361466"/>
              <a:gd name="connsiteX279" fmla="*/ 494944 w 977755"/>
              <a:gd name="connsiteY279" fmla="*/ 180661 h 361466"/>
              <a:gd name="connsiteX280" fmla="*/ 493731 w 977755"/>
              <a:gd name="connsiteY280" fmla="*/ 186800 h 361466"/>
              <a:gd name="connsiteX281" fmla="*/ 492303 w 977755"/>
              <a:gd name="connsiteY281" fmla="*/ 189512 h 361466"/>
              <a:gd name="connsiteX282" fmla="*/ 490304 w 977755"/>
              <a:gd name="connsiteY282" fmla="*/ 191939 h 361466"/>
              <a:gd name="connsiteX283" fmla="*/ 479098 w 977755"/>
              <a:gd name="connsiteY283" fmla="*/ 196579 h 361466"/>
              <a:gd name="connsiteX284" fmla="*/ 475886 w 977755"/>
              <a:gd name="connsiteY284" fmla="*/ 196222 h 361466"/>
              <a:gd name="connsiteX285" fmla="*/ 467891 w 977755"/>
              <a:gd name="connsiteY285" fmla="*/ 191939 h 361466"/>
              <a:gd name="connsiteX286" fmla="*/ 465964 w 977755"/>
              <a:gd name="connsiteY286" fmla="*/ 189584 h 361466"/>
              <a:gd name="connsiteX287" fmla="*/ 464536 w 977755"/>
              <a:gd name="connsiteY287" fmla="*/ 186871 h 361466"/>
              <a:gd name="connsiteX288" fmla="*/ 463608 w 977755"/>
              <a:gd name="connsiteY288" fmla="*/ 183873 h 361466"/>
              <a:gd name="connsiteX289" fmla="*/ 463323 w 977755"/>
              <a:gd name="connsiteY289" fmla="*/ 180661 h 361466"/>
              <a:gd name="connsiteX290" fmla="*/ 463608 w 977755"/>
              <a:gd name="connsiteY290" fmla="*/ 177449 h 361466"/>
              <a:gd name="connsiteX291" fmla="*/ 465964 w 977755"/>
              <a:gd name="connsiteY291" fmla="*/ 171810 h 361466"/>
              <a:gd name="connsiteX292" fmla="*/ 467891 w 977755"/>
              <a:gd name="connsiteY292" fmla="*/ 169455 h 361466"/>
              <a:gd name="connsiteX293" fmla="*/ 475886 w 977755"/>
              <a:gd name="connsiteY293" fmla="*/ 165172 h 361466"/>
              <a:gd name="connsiteX294" fmla="*/ 479098 w 977755"/>
              <a:gd name="connsiteY294" fmla="*/ 164815 h 361466"/>
              <a:gd name="connsiteX295" fmla="*/ 636061 w 977755"/>
              <a:gd name="connsiteY295" fmla="*/ 161317 h 361466"/>
              <a:gd name="connsiteX296" fmla="*/ 652193 w 977755"/>
              <a:gd name="connsiteY296" fmla="*/ 169883 h 361466"/>
              <a:gd name="connsiteX297" fmla="*/ 655476 w 977755"/>
              <a:gd name="connsiteY297" fmla="*/ 180732 h 361466"/>
              <a:gd name="connsiteX298" fmla="*/ 653977 w 977755"/>
              <a:gd name="connsiteY298" fmla="*/ 188298 h 361466"/>
              <a:gd name="connsiteX299" fmla="*/ 652193 w 977755"/>
              <a:gd name="connsiteY299" fmla="*/ 191582 h 361466"/>
              <a:gd name="connsiteX300" fmla="*/ 649766 w 977755"/>
              <a:gd name="connsiteY300" fmla="*/ 194437 h 361466"/>
              <a:gd name="connsiteX301" fmla="*/ 636061 w 977755"/>
              <a:gd name="connsiteY301" fmla="*/ 200148 h 361466"/>
              <a:gd name="connsiteX302" fmla="*/ 632135 w 977755"/>
              <a:gd name="connsiteY302" fmla="*/ 199719 h 361466"/>
              <a:gd name="connsiteX303" fmla="*/ 622356 w 977755"/>
              <a:gd name="connsiteY303" fmla="*/ 194437 h 361466"/>
              <a:gd name="connsiteX304" fmla="*/ 620001 w 977755"/>
              <a:gd name="connsiteY304" fmla="*/ 191582 h 361466"/>
              <a:gd name="connsiteX305" fmla="*/ 618216 w 977755"/>
              <a:gd name="connsiteY305" fmla="*/ 188298 h 361466"/>
              <a:gd name="connsiteX306" fmla="*/ 617074 w 977755"/>
              <a:gd name="connsiteY306" fmla="*/ 184658 h 361466"/>
              <a:gd name="connsiteX307" fmla="*/ 616646 w 977755"/>
              <a:gd name="connsiteY307" fmla="*/ 180732 h 361466"/>
              <a:gd name="connsiteX308" fmla="*/ 617074 w 977755"/>
              <a:gd name="connsiteY308" fmla="*/ 176806 h 361466"/>
              <a:gd name="connsiteX309" fmla="*/ 620001 w 977755"/>
              <a:gd name="connsiteY309" fmla="*/ 169883 h 361466"/>
              <a:gd name="connsiteX310" fmla="*/ 622356 w 977755"/>
              <a:gd name="connsiteY310" fmla="*/ 167027 h 361466"/>
              <a:gd name="connsiteX311" fmla="*/ 632135 w 977755"/>
              <a:gd name="connsiteY311" fmla="*/ 161745 h 361466"/>
              <a:gd name="connsiteX312" fmla="*/ 636061 w 977755"/>
              <a:gd name="connsiteY312" fmla="*/ 161317 h 361466"/>
              <a:gd name="connsiteX313" fmla="*/ 714579 w 977755"/>
              <a:gd name="connsiteY313" fmla="*/ 159247 h 361466"/>
              <a:gd name="connsiteX314" fmla="*/ 736064 w 977755"/>
              <a:gd name="connsiteY314" fmla="*/ 180732 h 361466"/>
              <a:gd name="connsiteX315" fmla="*/ 734351 w 977755"/>
              <a:gd name="connsiteY315" fmla="*/ 189084 h 361466"/>
              <a:gd name="connsiteX316" fmla="*/ 729854 w 977755"/>
              <a:gd name="connsiteY316" fmla="*/ 195936 h 361466"/>
              <a:gd name="connsiteX317" fmla="*/ 714651 w 977755"/>
              <a:gd name="connsiteY317" fmla="*/ 202218 h 361466"/>
              <a:gd name="connsiteX318" fmla="*/ 699447 w 977755"/>
              <a:gd name="connsiteY318" fmla="*/ 195936 h 361466"/>
              <a:gd name="connsiteX319" fmla="*/ 694807 w 977755"/>
              <a:gd name="connsiteY319" fmla="*/ 189084 h 361466"/>
              <a:gd name="connsiteX320" fmla="*/ 693094 w 977755"/>
              <a:gd name="connsiteY320" fmla="*/ 180732 h 361466"/>
              <a:gd name="connsiteX321" fmla="*/ 714579 w 977755"/>
              <a:gd name="connsiteY321" fmla="*/ 159247 h 361466"/>
              <a:gd name="connsiteX322" fmla="*/ 871470 w 977755"/>
              <a:gd name="connsiteY322" fmla="*/ 154322 h 361466"/>
              <a:gd name="connsiteX323" fmla="*/ 897881 w 977755"/>
              <a:gd name="connsiteY323" fmla="*/ 180732 h 361466"/>
              <a:gd name="connsiteX324" fmla="*/ 895811 w 977755"/>
              <a:gd name="connsiteY324" fmla="*/ 191011 h 361466"/>
              <a:gd name="connsiteX325" fmla="*/ 890172 w 977755"/>
              <a:gd name="connsiteY325" fmla="*/ 199434 h 361466"/>
              <a:gd name="connsiteX326" fmla="*/ 871470 w 977755"/>
              <a:gd name="connsiteY326" fmla="*/ 207143 h 361466"/>
              <a:gd name="connsiteX327" fmla="*/ 852769 w 977755"/>
              <a:gd name="connsiteY327" fmla="*/ 199434 h 361466"/>
              <a:gd name="connsiteX328" fmla="*/ 847130 w 977755"/>
              <a:gd name="connsiteY328" fmla="*/ 191011 h 361466"/>
              <a:gd name="connsiteX329" fmla="*/ 845060 w 977755"/>
              <a:gd name="connsiteY329" fmla="*/ 180732 h 361466"/>
              <a:gd name="connsiteX330" fmla="*/ 871470 w 977755"/>
              <a:gd name="connsiteY330" fmla="*/ 154322 h 361466"/>
              <a:gd name="connsiteX331" fmla="*/ 126198 w 977755"/>
              <a:gd name="connsiteY331" fmla="*/ 131481 h 361466"/>
              <a:gd name="connsiteX332" fmla="*/ 136191 w 977755"/>
              <a:gd name="connsiteY332" fmla="*/ 141474 h 361466"/>
              <a:gd name="connsiteX333" fmla="*/ 126198 w 977755"/>
              <a:gd name="connsiteY333" fmla="*/ 151467 h 361466"/>
              <a:gd name="connsiteX334" fmla="*/ 116205 w 977755"/>
              <a:gd name="connsiteY334" fmla="*/ 141474 h 361466"/>
              <a:gd name="connsiteX335" fmla="*/ 126198 w 977755"/>
              <a:gd name="connsiteY335" fmla="*/ 131481 h 361466"/>
              <a:gd name="connsiteX336" fmla="*/ 204644 w 977755"/>
              <a:gd name="connsiteY336" fmla="*/ 130410 h 361466"/>
              <a:gd name="connsiteX337" fmla="*/ 215708 w 977755"/>
              <a:gd name="connsiteY337" fmla="*/ 141474 h 361466"/>
              <a:gd name="connsiteX338" fmla="*/ 204644 w 977755"/>
              <a:gd name="connsiteY338" fmla="*/ 152538 h 361466"/>
              <a:gd name="connsiteX339" fmla="*/ 193580 w 977755"/>
              <a:gd name="connsiteY339" fmla="*/ 141474 h 361466"/>
              <a:gd name="connsiteX340" fmla="*/ 204644 w 977755"/>
              <a:gd name="connsiteY340" fmla="*/ 130410 h 361466"/>
              <a:gd name="connsiteX341" fmla="*/ 361536 w 977755"/>
              <a:gd name="connsiteY341" fmla="*/ 127912 h 361466"/>
              <a:gd name="connsiteX342" fmla="*/ 375098 w 977755"/>
              <a:gd name="connsiteY342" fmla="*/ 141474 h 361466"/>
              <a:gd name="connsiteX343" fmla="*/ 361536 w 977755"/>
              <a:gd name="connsiteY343" fmla="*/ 155036 h 361466"/>
              <a:gd name="connsiteX344" fmla="*/ 347974 w 977755"/>
              <a:gd name="connsiteY344" fmla="*/ 141474 h 361466"/>
              <a:gd name="connsiteX345" fmla="*/ 361536 w 977755"/>
              <a:gd name="connsiteY345" fmla="*/ 127912 h 361466"/>
              <a:gd name="connsiteX346" fmla="*/ 440054 w 977755"/>
              <a:gd name="connsiteY346" fmla="*/ 126484 h 361466"/>
              <a:gd name="connsiteX347" fmla="*/ 455043 w 977755"/>
              <a:gd name="connsiteY347" fmla="*/ 141474 h 361466"/>
              <a:gd name="connsiteX348" fmla="*/ 440054 w 977755"/>
              <a:gd name="connsiteY348" fmla="*/ 156463 h 361466"/>
              <a:gd name="connsiteX349" fmla="*/ 425064 w 977755"/>
              <a:gd name="connsiteY349" fmla="*/ 141474 h 361466"/>
              <a:gd name="connsiteX350" fmla="*/ 440054 w 977755"/>
              <a:gd name="connsiteY350" fmla="*/ 126484 h 361466"/>
              <a:gd name="connsiteX351" fmla="*/ 596946 w 977755"/>
              <a:gd name="connsiteY351" fmla="*/ 123058 h 361466"/>
              <a:gd name="connsiteX352" fmla="*/ 615362 w 977755"/>
              <a:gd name="connsiteY352" fmla="*/ 141474 h 361466"/>
              <a:gd name="connsiteX353" fmla="*/ 596946 w 977755"/>
              <a:gd name="connsiteY353" fmla="*/ 159890 h 361466"/>
              <a:gd name="connsiteX354" fmla="*/ 578530 w 977755"/>
              <a:gd name="connsiteY354" fmla="*/ 141474 h 361466"/>
              <a:gd name="connsiteX355" fmla="*/ 596946 w 977755"/>
              <a:gd name="connsiteY355" fmla="*/ 123058 h 361466"/>
              <a:gd name="connsiteX356" fmla="*/ 675321 w 977755"/>
              <a:gd name="connsiteY356" fmla="*/ 121059 h 361466"/>
              <a:gd name="connsiteX357" fmla="*/ 695735 w 977755"/>
              <a:gd name="connsiteY357" fmla="*/ 141474 h 361466"/>
              <a:gd name="connsiteX358" fmla="*/ 675321 w 977755"/>
              <a:gd name="connsiteY358" fmla="*/ 161888 h 361466"/>
              <a:gd name="connsiteX359" fmla="*/ 654906 w 977755"/>
              <a:gd name="connsiteY359" fmla="*/ 141474 h 361466"/>
              <a:gd name="connsiteX360" fmla="*/ 675321 w 977755"/>
              <a:gd name="connsiteY360" fmla="*/ 121059 h 361466"/>
              <a:gd name="connsiteX361" fmla="*/ 832283 w 977755"/>
              <a:gd name="connsiteY361" fmla="*/ 116348 h 361466"/>
              <a:gd name="connsiteX362" fmla="*/ 857337 w 977755"/>
              <a:gd name="connsiteY362" fmla="*/ 141474 h 361466"/>
              <a:gd name="connsiteX363" fmla="*/ 832283 w 977755"/>
              <a:gd name="connsiteY363" fmla="*/ 166528 h 361466"/>
              <a:gd name="connsiteX364" fmla="*/ 807229 w 977755"/>
              <a:gd name="connsiteY364" fmla="*/ 141474 h 361466"/>
              <a:gd name="connsiteX365" fmla="*/ 832283 w 977755"/>
              <a:gd name="connsiteY365" fmla="*/ 116348 h 361466"/>
              <a:gd name="connsiteX366" fmla="*/ 910730 w 977755"/>
              <a:gd name="connsiteY366" fmla="*/ 113636 h 361466"/>
              <a:gd name="connsiteX367" fmla="*/ 938496 w 977755"/>
              <a:gd name="connsiteY367" fmla="*/ 141474 h 361466"/>
              <a:gd name="connsiteX368" fmla="*/ 930397 w 977755"/>
              <a:gd name="connsiteY368" fmla="*/ 161004 h 361466"/>
              <a:gd name="connsiteX369" fmla="*/ 949989 w 977755"/>
              <a:gd name="connsiteY369" fmla="*/ 152895 h 361466"/>
              <a:gd name="connsiteX370" fmla="*/ 977755 w 977755"/>
              <a:gd name="connsiteY370" fmla="*/ 180662 h 361466"/>
              <a:gd name="connsiteX371" fmla="*/ 975542 w 977755"/>
              <a:gd name="connsiteY371" fmla="*/ 191511 h 361466"/>
              <a:gd name="connsiteX372" fmla="*/ 969618 w 977755"/>
              <a:gd name="connsiteY372" fmla="*/ 200362 h 361466"/>
              <a:gd name="connsiteX373" fmla="*/ 949989 w 977755"/>
              <a:gd name="connsiteY373" fmla="*/ 208500 h 361466"/>
              <a:gd name="connsiteX374" fmla="*/ 930410 w 977755"/>
              <a:gd name="connsiteY374" fmla="*/ 200383 h 361466"/>
              <a:gd name="connsiteX375" fmla="*/ 938496 w 977755"/>
              <a:gd name="connsiteY375" fmla="*/ 219920 h 361466"/>
              <a:gd name="connsiteX376" fmla="*/ 910730 w 977755"/>
              <a:gd name="connsiteY376" fmla="*/ 247758 h 361466"/>
              <a:gd name="connsiteX377" fmla="*/ 882963 w 977755"/>
              <a:gd name="connsiteY377" fmla="*/ 219920 h 361466"/>
              <a:gd name="connsiteX378" fmla="*/ 910730 w 977755"/>
              <a:gd name="connsiteY378" fmla="*/ 192153 h 361466"/>
              <a:gd name="connsiteX379" fmla="*/ 930281 w 977755"/>
              <a:gd name="connsiteY379" fmla="*/ 200246 h 361466"/>
              <a:gd name="connsiteX380" fmla="*/ 924435 w 977755"/>
              <a:gd name="connsiteY380" fmla="*/ 191511 h 361466"/>
              <a:gd name="connsiteX381" fmla="*/ 922222 w 977755"/>
              <a:gd name="connsiteY381" fmla="*/ 180662 h 361466"/>
              <a:gd name="connsiteX382" fmla="*/ 930295 w 977755"/>
              <a:gd name="connsiteY382" fmla="*/ 161159 h 361466"/>
              <a:gd name="connsiteX383" fmla="*/ 910730 w 977755"/>
              <a:gd name="connsiteY383" fmla="*/ 169241 h 361466"/>
              <a:gd name="connsiteX384" fmla="*/ 882963 w 977755"/>
              <a:gd name="connsiteY384" fmla="*/ 141474 h 361466"/>
              <a:gd name="connsiteX385" fmla="*/ 910730 w 977755"/>
              <a:gd name="connsiteY385" fmla="*/ 113636 h 361466"/>
              <a:gd name="connsiteX386" fmla="*/ 86939 w 977755"/>
              <a:gd name="connsiteY386" fmla="*/ 92793 h 361466"/>
              <a:gd name="connsiteX387" fmla="*/ 96433 w 977755"/>
              <a:gd name="connsiteY387" fmla="*/ 102286 h 361466"/>
              <a:gd name="connsiteX388" fmla="*/ 86939 w 977755"/>
              <a:gd name="connsiteY388" fmla="*/ 111780 h 361466"/>
              <a:gd name="connsiteX389" fmla="*/ 77446 w 977755"/>
              <a:gd name="connsiteY389" fmla="*/ 102286 h 361466"/>
              <a:gd name="connsiteX390" fmla="*/ 86939 w 977755"/>
              <a:gd name="connsiteY390" fmla="*/ 92793 h 361466"/>
              <a:gd name="connsiteX391" fmla="*/ 165457 w 977755"/>
              <a:gd name="connsiteY391" fmla="*/ 91794 h 361466"/>
              <a:gd name="connsiteX392" fmla="*/ 174165 w 977755"/>
              <a:gd name="connsiteY392" fmla="*/ 96434 h 361466"/>
              <a:gd name="connsiteX393" fmla="*/ 175950 w 977755"/>
              <a:gd name="connsiteY393" fmla="*/ 102287 h 361466"/>
              <a:gd name="connsiteX394" fmla="*/ 174165 w 977755"/>
              <a:gd name="connsiteY394" fmla="*/ 108140 h 361466"/>
              <a:gd name="connsiteX395" fmla="*/ 165457 w 977755"/>
              <a:gd name="connsiteY395" fmla="*/ 112922 h 361466"/>
              <a:gd name="connsiteX396" fmla="*/ 163315 w 977755"/>
              <a:gd name="connsiteY396" fmla="*/ 112708 h 361466"/>
              <a:gd name="connsiteX397" fmla="*/ 158033 w 977755"/>
              <a:gd name="connsiteY397" fmla="*/ 109853 h 361466"/>
              <a:gd name="connsiteX398" fmla="*/ 156748 w 977755"/>
              <a:gd name="connsiteY398" fmla="*/ 108283 h 361466"/>
              <a:gd name="connsiteX399" fmla="*/ 155178 w 977755"/>
              <a:gd name="connsiteY399" fmla="*/ 104500 h 361466"/>
              <a:gd name="connsiteX400" fmla="*/ 154964 w 977755"/>
              <a:gd name="connsiteY400" fmla="*/ 102358 h 361466"/>
              <a:gd name="connsiteX401" fmla="*/ 155178 w 977755"/>
              <a:gd name="connsiteY401" fmla="*/ 100217 h 361466"/>
              <a:gd name="connsiteX402" fmla="*/ 156748 w 977755"/>
              <a:gd name="connsiteY402" fmla="*/ 96434 h 361466"/>
              <a:gd name="connsiteX403" fmla="*/ 158033 w 977755"/>
              <a:gd name="connsiteY403" fmla="*/ 94863 h 361466"/>
              <a:gd name="connsiteX404" fmla="*/ 163315 w 977755"/>
              <a:gd name="connsiteY404" fmla="*/ 92008 h 361466"/>
              <a:gd name="connsiteX405" fmla="*/ 165457 w 977755"/>
              <a:gd name="connsiteY405" fmla="*/ 91794 h 361466"/>
              <a:gd name="connsiteX406" fmla="*/ 322349 w 977755"/>
              <a:gd name="connsiteY406" fmla="*/ 89367 h 361466"/>
              <a:gd name="connsiteX407" fmla="*/ 329559 w 977755"/>
              <a:gd name="connsiteY407" fmla="*/ 91580 h 361466"/>
              <a:gd name="connsiteX408" fmla="*/ 335198 w 977755"/>
              <a:gd name="connsiteY408" fmla="*/ 102287 h 361466"/>
              <a:gd name="connsiteX409" fmla="*/ 329559 w 977755"/>
              <a:gd name="connsiteY409" fmla="*/ 112994 h 361466"/>
              <a:gd name="connsiteX410" fmla="*/ 322349 w 977755"/>
              <a:gd name="connsiteY410" fmla="*/ 115206 h 361466"/>
              <a:gd name="connsiteX411" fmla="*/ 319780 w 977755"/>
              <a:gd name="connsiteY411" fmla="*/ 114921 h 361466"/>
              <a:gd name="connsiteX412" fmla="*/ 309501 w 977755"/>
              <a:gd name="connsiteY412" fmla="*/ 102287 h 361466"/>
              <a:gd name="connsiteX413" fmla="*/ 319780 w 977755"/>
              <a:gd name="connsiteY413" fmla="*/ 89653 h 361466"/>
              <a:gd name="connsiteX414" fmla="*/ 322349 w 977755"/>
              <a:gd name="connsiteY414" fmla="*/ 89367 h 361466"/>
              <a:gd name="connsiteX415" fmla="*/ 400795 w 977755"/>
              <a:gd name="connsiteY415" fmla="*/ 88011 h 361466"/>
              <a:gd name="connsiteX416" fmla="*/ 415071 w 977755"/>
              <a:gd name="connsiteY416" fmla="*/ 102287 h 361466"/>
              <a:gd name="connsiteX417" fmla="*/ 400795 w 977755"/>
              <a:gd name="connsiteY417" fmla="*/ 116563 h 361466"/>
              <a:gd name="connsiteX418" fmla="*/ 386519 w 977755"/>
              <a:gd name="connsiteY418" fmla="*/ 102287 h 361466"/>
              <a:gd name="connsiteX419" fmla="*/ 400795 w 977755"/>
              <a:gd name="connsiteY419" fmla="*/ 88011 h 361466"/>
              <a:gd name="connsiteX420" fmla="*/ 557687 w 977755"/>
              <a:gd name="connsiteY420" fmla="*/ 84798 h 361466"/>
              <a:gd name="connsiteX421" fmla="*/ 575175 w 977755"/>
              <a:gd name="connsiteY421" fmla="*/ 102286 h 361466"/>
              <a:gd name="connsiteX422" fmla="*/ 557687 w 977755"/>
              <a:gd name="connsiteY422" fmla="*/ 119774 h 361466"/>
              <a:gd name="connsiteX423" fmla="*/ 540199 w 977755"/>
              <a:gd name="connsiteY423" fmla="*/ 102286 h 361466"/>
              <a:gd name="connsiteX424" fmla="*/ 557687 w 977755"/>
              <a:gd name="connsiteY424" fmla="*/ 84798 h 361466"/>
              <a:gd name="connsiteX425" fmla="*/ 636061 w 977755"/>
              <a:gd name="connsiteY425" fmla="*/ 82871 h 361466"/>
              <a:gd name="connsiteX426" fmla="*/ 652193 w 977755"/>
              <a:gd name="connsiteY426" fmla="*/ 91437 h 361466"/>
              <a:gd name="connsiteX427" fmla="*/ 655476 w 977755"/>
              <a:gd name="connsiteY427" fmla="*/ 102286 h 361466"/>
              <a:gd name="connsiteX428" fmla="*/ 652193 w 977755"/>
              <a:gd name="connsiteY428" fmla="*/ 113136 h 361466"/>
              <a:gd name="connsiteX429" fmla="*/ 636061 w 977755"/>
              <a:gd name="connsiteY429" fmla="*/ 121702 h 361466"/>
              <a:gd name="connsiteX430" fmla="*/ 632135 w 977755"/>
              <a:gd name="connsiteY430" fmla="*/ 121273 h 361466"/>
              <a:gd name="connsiteX431" fmla="*/ 622356 w 977755"/>
              <a:gd name="connsiteY431" fmla="*/ 115991 h 361466"/>
              <a:gd name="connsiteX432" fmla="*/ 620001 w 977755"/>
              <a:gd name="connsiteY432" fmla="*/ 113136 h 361466"/>
              <a:gd name="connsiteX433" fmla="*/ 617074 w 977755"/>
              <a:gd name="connsiteY433" fmla="*/ 106212 h 361466"/>
              <a:gd name="connsiteX434" fmla="*/ 616646 w 977755"/>
              <a:gd name="connsiteY434" fmla="*/ 102286 h 361466"/>
              <a:gd name="connsiteX435" fmla="*/ 617074 w 977755"/>
              <a:gd name="connsiteY435" fmla="*/ 98360 h 361466"/>
              <a:gd name="connsiteX436" fmla="*/ 620001 w 977755"/>
              <a:gd name="connsiteY436" fmla="*/ 91437 h 361466"/>
              <a:gd name="connsiteX437" fmla="*/ 622356 w 977755"/>
              <a:gd name="connsiteY437" fmla="*/ 88581 h 361466"/>
              <a:gd name="connsiteX438" fmla="*/ 632135 w 977755"/>
              <a:gd name="connsiteY438" fmla="*/ 83299 h 361466"/>
              <a:gd name="connsiteX439" fmla="*/ 636061 w 977755"/>
              <a:gd name="connsiteY439" fmla="*/ 82871 h 361466"/>
              <a:gd name="connsiteX440" fmla="*/ 793025 w 977755"/>
              <a:gd name="connsiteY440" fmla="*/ 78446 h 361466"/>
              <a:gd name="connsiteX441" fmla="*/ 806373 w 977755"/>
              <a:gd name="connsiteY441" fmla="*/ 82515 h 361466"/>
              <a:gd name="connsiteX442" fmla="*/ 816865 w 977755"/>
              <a:gd name="connsiteY442" fmla="*/ 102287 h 361466"/>
              <a:gd name="connsiteX443" fmla="*/ 806373 w 977755"/>
              <a:gd name="connsiteY443" fmla="*/ 122059 h 361466"/>
              <a:gd name="connsiteX444" fmla="*/ 793025 w 977755"/>
              <a:gd name="connsiteY444" fmla="*/ 126128 h 361466"/>
              <a:gd name="connsiteX445" fmla="*/ 788242 w 977755"/>
              <a:gd name="connsiteY445" fmla="*/ 125628 h 361466"/>
              <a:gd name="connsiteX446" fmla="*/ 769184 w 977755"/>
              <a:gd name="connsiteY446" fmla="*/ 102287 h 361466"/>
              <a:gd name="connsiteX447" fmla="*/ 788242 w 977755"/>
              <a:gd name="connsiteY447" fmla="*/ 78946 h 361466"/>
              <a:gd name="connsiteX448" fmla="*/ 793025 w 977755"/>
              <a:gd name="connsiteY448" fmla="*/ 78446 h 361466"/>
              <a:gd name="connsiteX449" fmla="*/ 871470 w 977755"/>
              <a:gd name="connsiteY449" fmla="*/ 75876 h 361466"/>
              <a:gd name="connsiteX450" fmla="*/ 897881 w 977755"/>
              <a:gd name="connsiteY450" fmla="*/ 102286 h 361466"/>
              <a:gd name="connsiteX451" fmla="*/ 871470 w 977755"/>
              <a:gd name="connsiteY451" fmla="*/ 128697 h 361466"/>
              <a:gd name="connsiteX452" fmla="*/ 845060 w 977755"/>
              <a:gd name="connsiteY452" fmla="*/ 102286 h 361466"/>
              <a:gd name="connsiteX453" fmla="*/ 871470 w 977755"/>
              <a:gd name="connsiteY453" fmla="*/ 75876 h 361466"/>
              <a:gd name="connsiteX454" fmla="*/ 47753 w 977755"/>
              <a:gd name="connsiteY454" fmla="*/ 54034 h 361466"/>
              <a:gd name="connsiteX455" fmla="*/ 56747 w 977755"/>
              <a:gd name="connsiteY455" fmla="*/ 63028 h 361466"/>
              <a:gd name="connsiteX456" fmla="*/ 47753 w 977755"/>
              <a:gd name="connsiteY456" fmla="*/ 72022 h 361466"/>
              <a:gd name="connsiteX457" fmla="*/ 38759 w 977755"/>
              <a:gd name="connsiteY457" fmla="*/ 63028 h 361466"/>
              <a:gd name="connsiteX458" fmla="*/ 47753 w 977755"/>
              <a:gd name="connsiteY458" fmla="*/ 54034 h 361466"/>
              <a:gd name="connsiteX459" fmla="*/ 126198 w 977755"/>
              <a:gd name="connsiteY459" fmla="*/ 53035 h 361466"/>
              <a:gd name="connsiteX460" fmla="*/ 136191 w 977755"/>
              <a:gd name="connsiteY460" fmla="*/ 63028 h 361466"/>
              <a:gd name="connsiteX461" fmla="*/ 126198 w 977755"/>
              <a:gd name="connsiteY461" fmla="*/ 73021 h 361466"/>
              <a:gd name="connsiteX462" fmla="*/ 116205 w 977755"/>
              <a:gd name="connsiteY462" fmla="*/ 63028 h 361466"/>
              <a:gd name="connsiteX463" fmla="*/ 126198 w 977755"/>
              <a:gd name="connsiteY463" fmla="*/ 53035 h 361466"/>
              <a:gd name="connsiteX464" fmla="*/ 283162 w 977755"/>
              <a:gd name="connsiteY464" fmla="*/ 50822 h 361466"/>
              <a:gd name="connsiteX465" fmla="*/ 295368 w 977755"/>
              <a:gd name="connsiteY465" fmla="*/ 63028 h 361466"/>
              <a:gd name="connsiteX466" fmla="*/ 283162 w 977755"/>
              <a:gd name="connsiteY466" fmla="*/ 75234 h 361466"/>
              <a:gd name="connsiteX467" fmla="*/ 270956 w 977755"/>
              <a:gd name="connsiteY467" fmla="*/ 63028 h 361466"/>
              <a:gd name="connsiteX468" fmla="*/ 283162 w 977755"/>
              <a:gd name="connsiteY468" fmla="*/ 50822 h 361466"/>
              <a:gd name="connsiteX469" fmla="*/ 361536 w 977755"/>
              <a:gd name="connsiteY469" fmla="*/ 49466 h 361466"/>
              <a:gd name="connsiteX470" fmla="*/ 375098 w 977755"/>
              <a:gd name="connsiteY470" fmla="*/ 63028 h 361466"/>
              <a:gd name="connsiteX471" fmla="*/ 361536 w 977755"/>
              <a:gd name="connsiteY471" fmla="*/ 76590 h 361466"/>
              <a:gd name="connsiteX472" fmla="*/ 347974 w 977755"/>
              <a:gd name="connsiteY472" fmla="*/ 63028 h 361466"/>
              <a:gd name="connsiteX473" fmla="*/ 361536 w 977755"/>
              <a:gd name="connsiteY473" fmla="*/ 49466 h 361466"/>
              <a:gd name="connsiteX474" fmla="*/ 518428 w 977755"/>
              <a:gd name="connsiteY474" fmla="*/ 46396 h 361466"/>
              <a:gd name="connsiteX475" fmla="*/ 535060 w 977755"/>
              <a:gd name="connsiteY475" fmla="*/ 63027 h 361466"/>
              <a:gd name="connsiteX476" fmla="*/ 518428 w 977755"/>
              <a:gd name="connsiteY476" fmla="*/ 79659 h 361466"/>
              <a:gd name="connsiteX477" fmla="*/ 501797 w 977755"/>
              <a:gd name="connsiteY477" fmla="*/ 63027 h 361466"/>
              <a:gd name="connsiteX478" fmla="*/ 518428 w 977755"/>
              <a:gd name="connsiteY478" fmla="*/ 46396 h 361466"/>
              <a:gd name="connsiteX479" fmla="*/ 596946 w 977755"/>
              <a:gd name="connsiteY479" fmla="*/ 44612 h 361466"/>
              <a:gd name="connsiteX480" fmla="*/ 615362 w 977755"/>
              <a:gd name="connsiteY480" fmla="*/ 63028 h 361466"/>
              <a:gd name="connsiteX481" fmla="*/ 596946 w 977755"/>
              <a:gd name="connsiteY481" fmla="*/ 81444 h 361466"/>
              <a:gd name="connsiteX482" fmla="*/ 578530 w 977755"/>
              <a:gd name="connsiteY482" fmla="*/ 63028 h 361466"/>
              <a:gd name="connsiteX483" fmla="*/ 596946 w 977755"/>
              <a:gd name="connsiteY483" fmla="*/ 44612 h 361466"/>
              <a:gd name="connsiteX484" fmla="*/ 753766 w 977755"/>
              <a:gd name="connsiteY484" fmla="*/ 40400 h 361466"/>
              <a:gd name="connsiteX485" fmla="*/ 776394 w 977755"/>
              <a:gd name="connsiteY485" fmla="*/ 63027 h 361466"/>
              <a:gd name="connsiteX486" fmla="*/ 753766 w 977755"/>
              <a:gd name="connsiteY486" fmla="*/ 85655 h 361466"/>
              <a:gd name="connsiteX487" fmla="*/ 731139 w 977755"/>
              <a:gd name="connsiteY487" fmla="*/ 63027 h 361466"/>
              <a:gd name="connsiteX488" fmla="*/ 753766 w 977755"/>
              <a:gd name="connsiteY488" fmla="*/ 40400 h 361466"/>
              <a:gd name="connsiteX489" fmla="*/ 832283 w 977755"/>
              <a:gd name="connsiteY489" fmla="*/ 37973 h 361466"/>
              <a:gd name="connsiteX490" fmla="*/ 857337 w 977755"/>
              <a:gd name="connsiteY490" fmla="*/ 63027 h 361466"/>
              <a:gd name="connsiteX491" fmla="*/ 832283 w 977755"/>
              <a:gd name="connsiteY491" fmla="*/ 88153 h 361466"/>
              <a:gd name="connsiteX492" fmla="*/ 807229 w 977755"/>
              <a:gd name="connsiteY492" fmla="*/ 63027 h 361466"/>
              <a:gd name="connsiteX493" fmla="*/ 832283 w 977755"/>
              <a:gd name="connsiteY493" fmla="*/ 37973 h 361466"/>
              <a:gd name="connsiteX494" fmla="*/ 8566 w 977755"/>
              <a:gd name="connsiteY494" fmla="*/ 15275 h 361466"/>
              <a:gd name="connsiteX495" fmla="*/ 15632 w 977755"/>
              <a:gd name="connsiteY495" fmla="*/ 19058 h 361466"/>
              <a:gd name="connsiteX496" fmla="*/ 17060 w 977755"/>
              <a:gd name="connsiteY496" fmla="*/ 23841 h 361466"/>
              <a:gd name="connsiteX497" fmla="*/ 16917 w 977755"/>
              <a:gd name="connsiteY497" fmla="*/ 25554 h 361466"/>
              <a:gd name="connsiteX498" fmla="*/ 15632 w 977755"/>
              <a:gd name="connsiteY498" fmla="*/ 28623 h 361466"/>
              <a:gd name="connsiteX499" fmla="*/ 8566 w 977755"/>
              <a:gd name="connsiteY499" fmla="*/ 32406 h 361466"/>
              <a:gd name="connsiteX500" fmla="*/ 6852 w 977755"/>
              <a:gd name="connsiteY500" fmla="*/ 32192 h 361466"/>
              <a:gd name="connsiteX501" fmla="*/ 2498 w 977755"/>
              <a:gd name="connsiteY501" fmla="*/ 29836 h 361466"/>
              <a:gd name="connsiteX502" fmla="*/ 1428 w 977755"/>
              <a:gd name="connsiteY502" fmla="*/ 28623 h 361466"/>
              <a:gd name="connsiteX503" fmla="*/ 143 w 977755"/>
              <a:gd name="connsiteY503" fmla="*/ 25554 h 361466"/>
              <a:gd name="connsiteX504" fmla="*/ 0 w 977755"/>
              <a:gd name="connsiteY504" fmla="*/ 23841 h 361466"/>
              <a:gd name="connsiteX505" fmla="*/ 143 w 977755"/>
              <a:gd name="connsiteY505" fmla="*/ 22127 h 361466"/>
              <a:gd name="connsiteX506" fmla="*/ 1428 w 977755"/>
              <a:gd name="connsiteY506" fmla="*/ 19058 h 361466"/>
              <a:gd name="connsiteX507" fmla="*/ 2498 w 977755"/>
              <a:gd name="connsiteY507" fmla="*/ 17773 h 361466"/>
              <a:gd name="connsiteX508" fmla="*/ 6852 w 977755"/>
              <a:gd name="connsiteY508" fmla="*/ 15418 h 361466"/>
              <a:gd name="connsiteX509" fmla="*/ 8566 w 977755"/>
              <a:gd name="connsiteY509" fmla="*/ 15275 h 361466"/>
              <a:gd name="connsiteX510" fmla="*/ 87011 w 977755"/>
              <a:gd name="connsiteY510" fmla="*/ 14347 h 361466"/>
              <a:gd name="connsiteX511" fmla="*/ 96505 w 977755"/>
              <a:gd name="connsiteY511" fmla="*/ 23840 h 361466"/>
              <a:gd name="connsiteX512" fmla="*/ 96291 w 977755"/>
              <a:gd name="connsiteY512" fmla="*/ 25768 h 361466"/>
              <a:gd name="connsiteX513" fmla="*/ 87011 w 977755"/>
              <a:gd name="connsiteY513" fmla="*/ 33334 h 361466"/>
              <a:gd name="connsiteX514" fmla="*/ 77732 w 977755"/>
              <a:gd name="connsiteY514" fmla="*/ 25768 h 361466"/>
              <a:gd name="connsiteX515" fmla="*/ 77518 w 977755"/>
              <a:gd name="connsiteY515" fmla="*/ 23840 h 361466"/>
              <a:gd name="connsiteX516" fmla="*/ 87011 w 977755"/>
              <a:gd name="connsiteY516" fmla="*/ 14347 h 361466"/>
              <a:gd name="connsiteX517" fmla="*/ 243832 w 977755"/>
              <a:gd name="connsiteY517" fmla="*/ 12205 h 361466"/>
              <a:gd name="connsiteX518" fmla="*/ 255467 w 977755"/>
              <a:gd name="connsiteY518" fmla="*/ 23840 h 361466"/>
              <a:gd name="connsiteX519" fmla="*/ 255253 w 977755"/>
              <a:gd name="connsiteY519" fmla="*/ 26195 h 361466"/>
              <a:gd name="connsiteX520" fmla="*/ 243832 w 977755"/>
              <a:gd name="connsiteY520" fmla="*/ 35475 h 361466"/>
              <a:gd name="connsiteX521" fmla="*/ 232411 w 977755"/>
              <a:gd name="connsiteY521" fmla="*/ 26195 h 361466"/>
              <a:gd name="connsiteX522" fmla="*/ 232197 w 977755"/>
              <a:gd name="connsiteY522" fmla="*/ 23840 h 361466"/>
              <a:gd name="connsiteX523" fmla="*/ 243832 w 977755"/>
              <a:gd name="connsiteY523" fmla="*/ 12205 h 361466"/>
              <a:gd name="connsiteX524" fmla="*/ 322349 w 977755"/>
              <a:gd name="connsiteY524" fmla="*/ 10921 h 361466"/>
              <a:gd name="connsiteX525" fmla="*/ 329559 w 977755"/>
              <a:gd name="connsiteY525" fmla="*/ 13134 h 361466"/>
              <a:gd name="connsiteX526" fmla="*/ 335198 w 977755"/>
              <a:gd name="connsiteY526" fmla="*/ 23841 h 361466"/>
              <a:gd name="connsiteX527" fmla="*/ 334912 w 977755"/>
              <a:gd name="connsiteY527" fmla="*/ 26410 h 361466"/>
              <a:gd name="connsiteX528" fmla="*/ 329559 w 977755"/>
              <a:gd name="connsiteY528" fmla="*/ 34476 h 361466"/>
              <a:gd name="connsiteX529" fmla="*/ 322349 w 977755"/>
              <a:gd name="connsiteY529" fmla="*/ 36689 h 361466"/>
              <a:gd name="connsiteX530" fmla="*/ 319780 w 977755"/>
              <a:gd name="connsiteY530" fmla="*/ 36404 h 361466"/>
              <a:gd name="connsiteX531" fmla="*/ 309787 w 977755"/>
              <a:gd name="connsiteY531" fmla="*/ 26410 h 361466"/>
              <a:gd name="connsiteX532" fmla="*/ 309501 w 977755"/>
              <a:gd name="connsiteY532" fmla="*/ 23841 h 361466"/>
              <a:gd name="connsiteX533" fmla="*/ 319780 w 977755"/>
              <a:gd name="connsiteY533" fmla="*/ 11207 h 361466"/>
              <a:gd name="connsiteX534" fmla="*/ 322349 w 977755"/>
              <a:gd name="connsiteY534" fmla="*/ 10921 h 361466"/>
              <a:gd name="connsiteX535" fmla="*/ 479098 w 977755"/>
              <a:gd name="connsiteY535" fmla="*/ 7994 h 361466"/>
              <a:gd name="connsiteX536" fmla="*/ 492232 w 977755"/>
              <a:gd name="connsiteY536" fmla="*/ 14989 h 361466"/>
              <a:gd name="connsiteX537" fmla="*/ 494944 w 977755"/>
              <a:gd name="connsiteY537" fmla="*/ 23840 h 361466"/>
              <a:gd name="connsiteX538" fmla="*/ 494659 w 977755"/>
              <a:gd name="connsiteY538" fmla="*/ 27052 h 361466"/>
              <a:gd name="connsiteX539" fmla="*/ 492303 w 977755"/>
              <a:gd name="connsiteY539" fmla="*/ 32691 h 361466"/>
              <a:gd name="connsiteX540" fmla="*/ 479098 w 977755"/>
              <a:gd name="connsiteY540" fmla="*/ 39615 h 361466"/>
              <a:gd name="connsiteX541" fmla="*/ 475886 w 977755"/>
              <a:gd name="connsiteY541" fmla="*/ 39258 h 361466"/>
              <a:gd name="connsiteX542" fmla="*/ 467891 w 977755"/>
              <a:gd name="connsiteY542" fmla="*/ 34975 h 361466"/>
              <a:gd name="connsiteX543" fmla="*/ 465964 w 977755"/>
              <a:gd name="connsiteY543" fmla="*/ 32620 h 361466"/>
              <a:gd name="connsiteX544" fmla="*/ 463608 w 977755"/>
              <a:gd name="connsiteY544" fmla="*/ 26981 h 361466"/>
              <a:gd name="connsiteX545" fmla="*/ 463323 w 977755"/>
              <a:gd name="connsiteY545" fmla="*/ 23769 h 361466"/>
              <a:gd name="connsiteX546" fmla="*/ 463608 w 977755"/>
              <a:gd name="connsiteY546" fmla="*/ 20557 h 361466"/>
              <a:gd name="connsiteX547" fmla="*/ 465964 w 977755"/>
              <a:gd name="connsiteY547" fmla="*/ 14918 h 361466"/>
              <a:gd name="connsiteX548" fmla="*/ 467891 w 977755"/>
              <a:gd name="connsiteY548" fmla="*/ 12562 h 361466"/>
              <a:gd name="connsiteX549" fmla="*/ 475886 w 977755"/>
              <a:gd name="connsiteY549" fmla="*/ 8280 h 361466"/>
              <a:gd name="connsiteX550" fmla="*/ 479098 w 977755"/>
              <a:gd name="connsiteY550" fmla="*/ 7994 h 361466"/>
              <a:gd name="connsiteX551" fmla="*/ 557687 w 977755"/>
              <a:gd name="connsiteY551" fmla="*/ 6352 h 361466"/>
              <a:gd name="connsiteX552" fmla="*/ 575175 w 977755"/>
              <a:gd name="connsiteY552" fmla="*/ 23840 h 361466"/>
              <a:gd name="connsiteX553" fmla="*/ 574818 w 977755"/>
              <a:gd name="connsiteY553" fmla="*/ 27338 h 361466"/>
              <a:gd name="connsiteX554" fmla="*/ 557687 w 977755"/>
              <a:gd name="connsiteY554" fmla="*/ 41328 h 361466"/>
              <a:gd name="connsiteX555" fmla="*/ 540556 w 977755"/>
              <a:gd name="connsiteY555" fmla="*/ 27338 h 361466"/>
              <a:gd name="connsiteX556" fmla="*/ 540199 w 977755"/>
              <a:gd name="connsiteY556" fmla="*/ 23840 h 361466"/>
              <a:gd name="connsiteX557" fmla="*/ 557687 w 977755"/>
              <a:gd name="connsiteY557" fmla="*/ 6352 h 361466"/>
              <a:gd name="connsiteX558" fmla="*/ 714579 w 977755"/>
              <a:gd name="connsiteY558" fmla="*/ 2284 h 361466"/>
              <a:gd name="connsiteX559" fmla="*/ 736064 w 977755"/>
              <a:gd name="connsiteY559" fmla="*/ 23769 h 361466"/>
              <a:gd name="connsiteX560" fmla="*/ 735636 w 977755"/>
              <a:gd name="connsiteY560" fmla="*/ 28123 h 361466"/>
              <a:gd name="connsiteX561" fmla="*/ 714579 w 977755"/>
              <a:gd name="connsiteY561" fmla="*/ 45326 h 361466"/>
              <a:gd name="connsiteX562" fmla="*/ 693522 w 977755"/>
              <a:gd name="connsiteY562" fmla="*/ 28123 h 361466"/>
              <a:gd name="connsiteX563" fmla="*/ 693094 w 977755"/>
              <a:gd name="connsiteY563" fmla="*/ 23769 h 361466"/>
              <a:gd name="connsiteX564" fmla="*/ 714579 w 977755"/>
              <a:gd name="connsiteY564" fmla="*/ 2284 h 361466"/>
              <a:gd name="connsiteX565" fmla="*/ 793025 w 977755"/>
              <a:gd name="connsiteY565" fmla="*/ 0 h 361466"/>
              <a:gd name="connsiteX566" fmla="*/ 806373 w 977755"/>
              <a:gd name="connsiteY566" fmla="*/ 4069 h 361466"/>
              <a:gd name="connsiteX567" fmla="*/ 816865 w 977755"/>
              <a:gd name="connsiteY567" fmla="*/ 23841 h 361466"/>
              <a:gd name="connsiteX568" fmla="*/ 816366 w 977755"/>
              <a:gd name="connsiteY568" fmla="*/ 28623 h 361466"/>
              <a:gd name="connsiteX569" fmla="*/ 806373 w 977755"/>
              <a:gd name="connsiteY569" fmla="*/ 43613 h 361466"/>
              <a:gd name="connsiteX570" fmla="*/ 793025 w 977755"/>
              <a:gd name="connsiteY570" fmla="*/ 47682 h 361466"/>
              <a:gd name="connsiteX571" fmla="*/ 788242 w 977755"/>
              <a:gd name="connsiteY571" fmla="*/ 47182 h 361466"/>
              <a:gd name="connsiteX572" fmla="*/ 769684 w 977755"/>
              <a:gd name="connsiteY572" fmla="*/ 28623 h 361466"/>
              <a:gd name="connsiteX573" fmla="*/ 769184 w 977755"/>
              <a:gd name="connsiteY573" fmla="*/ 23841 h 361466"/>
              <a:gd name="connsiteX574" fmla="*/ 788242 w 977755"/>
              <a:gd name="connsiteY574" fmla="*/ 500 h 361466"/>
              <a:gd name="connsiteX575" fmla="*/ 793025 w 977755"/>
              <a:gd name="connsiteY575" fmla="*/ 0 h 36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Lst>
            <a:rect l="l" t="t" r="r" b="b"/>
            <a:pathLst>
              <a:path w="977755" h="361466">
                <a:moveTo>
                  <a:pt x="8566" y="329059"/>
                </a:moveTo>
                <a:cubicBezTo>
                  <a:pt x="11492" y="329059"/>
                  <a:pt x="14062" y="330558"/>
                  <a:pt x="15632" y="332842"/>
                </a:cubicBezTo>
                <a:cubicBezTo>
                  <a:pt x="16489" y="334198"/>
                  <a:pt x="17060" y="335840"/>
                  <a:pt x="17060" y="337625"/>
                </a:cubicBezTo>
                <a:cubicBezTo>
                  <a:pt x="17060" y="338838"/>
                  <a:pt x="16846" y="339980"/>
                  <a:pt x="16417" y="340979"/>
                </a:cubicBezTo>
                <a:cubicBezTo>
                  <a:pt x="16203" y="341479"/>
                  <a:pt x="15918" y="341979"/>
                  <a:pt x="15632" y="342407"/>
                </a:cubicBezTo>
                <a:cubicBezTo>
                  <a:pt x="15347" y="342835"/>
                  <a:pt x="14990" y="343264"/>
                  <a:pt x="14633" y="343620"/>
                </a:cubicBezTo>
                <a:cubicBezTo>
                  <a:pt x="13062" y="345191"/>
                  <a:pt x="10921" y="346119"/>
                  <a:pt x="8566" y="346119"/>
                </a:cubicBezTo>
                <a:cubicBezTo>
                  <a:pt x="7994" y="346119"/>
                  <a:pt x="7423" y="346119"/>
                  <a:pt x="6852" y="345976"/>
                </a:cubicBezTo>
                <a:cubicBezTo>
                  <a:pt x="5139" y="345619"/>
                  <a:pt x="3640" y="344763"/>
                  <a:pt x="2498" y="343620"/>
                </a:cubicBezTo>
                <a:cubicBezTo>
                  <a:pt x="2070" y="343192"/>
                  <a:pt x="1713" y="342764"/>
                  <a:pt x="1428" y="342336"/>
                </a:cubicBezTo>
                <a:cubicBezTo>
                  <a:pt x="1142" y="341907"/>
                  <a:pt x="857" y="341408"/>
                  <a:pt x="642" y="340908"/>
                </a:cubicBezTo>
                <a:cubicBezTo>
                  <a:pt x="428" y="340408"/>
                  <a:pt x="286" y="339909"/>
                  <a:pt x="143" y="339338"/>
                </a:cubicBezTo>
                <a:cubicBezTo>
                  <a:pt x="71" y="338767"/>
                  <a:pt x="0" y="338196"/>
                  <a:pt x="0" y="337625"/>
                </a:cubicBezTo>
                <a:cubicBezTo>
                  <a:pt x="0" y="336982"/>
                  <a:pt x="71" y="336411"/>
                  <a:pt x="143" y="335911"/>
                </a:cubicBezTo>
                <a:cubicBezTo>
                  <a:pt x="357" y="334769"/>
                  <a:pt x="785" y="333770"/>
                  <a:pt x="1428" y="332842"/>
                </a:cubicBezTo>
                <a:cubicBezTo>
                  <a:pt x="1784" y="332342"/>
                  <a:pt x="2141" y="331914"/>
                  <a:pt x="2498" y="331557"/>
                </a:cubicBezTo>
                <a:cubicBezTo>
                  <a:pt x="3712" y="330344"/>
                  <a:pt x="5211" y="329559"/>
                  <a:pt x="6852" y="329202"/>
                </a:cubicBezTo>
                <a:cubicBezTo>
                  <a:pt x="7423" y="329130"/>
                  <a:pt x="7994" y="329059"/>
                  <a:pt x="8566" y="329059"/>
                </a:cubicBezTo>
                <a:close/>
                <a:moveTo>
                  <a:pt x="86939" y="328060"/>
                </a:moveTo>
                <a:cubicBezTo>
                  <a:pt x="92222" y="328060"/>
                  <a:pt x="96433" y="332343"/>
                  <a:pt x="96433" y="337554"/>
                </a:cubicBezTo>
                <a:cubicBezTo>
                  <a:pt x="96433" y="338910"/>
                  <a:pt x="96219" y="340123"/>
                  <a:pt x="95719" y="341265"/>
                </a:cubicBezTo>
                <a:cubicBezTo>
                  <a:pt x="95219" y="342407"/>
                  <a:pt x="94506" y="343407"/>
                  <a:pt x="93578" y="344263"/>
                </a:cubicBezTo>
                <a:cubicBezTo>
                  <a:pt x="91865" y="345976"/>
                  <a:pt x="89509" y="347047"/>
                  <a:pt x="86868" y="347047"/>
                </a:cubicBezTo>
                <a:cubicBezTo>
                  <a:pt x="84227" y="347047"/>
                  <a:pt x="81872" y="345976"/>
                  <a:pt x="80158" y="344263"/>
                </a:cubicBezTo>
                <a:cubicBezTo>
                  <a:pt x="79302" y="343407"/>
                  <a:pt x="78659" y="342407"/>
                  <a:pt x="78160" y="341265"/>
                </a:cubicBezTo>
                <a:cubicBezTo>
                  <a:pt x="77732" y="340123"/>
                  <a:pt x="77446" y="338838"/>
                  <a:pt x="77446" y="337554"/>
                </a:cubicBezTo>
                <a:cubicBezTo>
                  <a:pt x="77446" y="332271"/>
                  <a:pt x="81729" y="328060"/>
                  <a:pt x="86939" y="328060"/>
                </a:cubicBezTo>
                <a:close/>
                <a:moveTo>
                  <a:pt x="243903" y="325990"/>
                </a:moveTo>
                <a:cubicBezTo>
                  <a:pt x="250327" y="325990"/>
                  <a:pt x="255538" y="331201"/>
                  <a:pt x="255538" y="337625"/>
                </a:cubicBezTo>
                <a:cubicBezTo>
                  <a:pt x="255538" y="339195"/>
                  <a:pt x="255181" y="340766"/>
                  <a:pt x="254610" y="342122"/>
                </a:cubicBezTo>
                <a:cubicBezTo>
                  <a:pt x="253967" y="343478"/>
                  <a:pt x="253182" y="344763"/>
                  <a:pt x="252111" y="345834"/>
                </a:cubicBezTo>
                <a:cubicBezTo>
                  <a:pt x="250041" y="347975"/>
                  <a:pt x="247115" y="349260"/>
                  <a:pt x="243903" y="349260"/>
                </a:cubicBezTo>
                <a:cubicBezTo>
                  <a:pt x="240691" y="349260"/>
                  <a:pt x="237764" y="347904"/>
                  <a:pt x="235694" y="345834"/>
                </a:cubicBezTo>
                <a:cubicBezTo>
                  <a:pt x="234624" y="344763"/>
                  <a:pt x="233767" y="343478"/>
                  <a:pt x="233196" y="342122"/>
                </a:cubicBezTo>
                <a:cubicBezTo>
                  <a:pt x="232625" y="340766"/>
                  <a:pt x="232268" y="339195"/>
                  <a:pt x="232268" y="337625"/>
                </a:cubicBezTo>
                <a:cubicBezTo>
                  <a:pt x="232268" y="331201"/>
                  <a:pt x="237479" y="325990"/>
                  <a:pt x="243903" y="325990"/>
                </a:cubicBezTo>
                <a:close/>
                <a:moveTo>
                  <a:pt x="322349" y="324705"/>
                </a:moveTo>
                <a:cubicBezTo>
                  <a:pt x="324990" y="324705"/>
                  <a:pt x="327489" y="325562"/>
                  <a:pt x="329559" y="326918"/>
                </a:cubicBezTo>
                <a:cubicBezTo>
                  <a:pt x="332913" y="329273"/>
                  <a:pt x="335198" y="333199"/>
                  <a:pt x="335198" y="337625"/>
                </a:cubicBezTo>
                <a:cubicBezTo>
                  <a:pt x="335198" y="339409"/>
                  <a:pt x="334841" y="341051"/>
                  <a:pt x="334198" y="342621"/>
                </a:cubicBezTo>
                <a:cubicBezTo>
                  <a:pt x="333556" y="344120"/>
                  <a:pt x="332557" y="345548"/>
                  <a:pt x="331414" y="346690"/>
                </a:cubicBezTo>
                <a:cubicBezTo>
                  <a:pt x="330843" y="347261"/>
                  <a:pt x="330201" y="347832"/>
                  <a:pt x="329559" y="348260"/>
                </a:cubicBezTo>
                <a:cubicBezTo>
                  <a:pt x="327489" y="349688"/>
                  <a:pt x="324990" y="350473"/>
                  <a:pt x="322349" y="350473"/>
                </a:cubicBezTo>
                <a:cubicBezTo>
                  <a:pt x="321493" y="350473"/>
                  <a:pt x="320636" y="350330"/>
                  <a:pt x="319780" y="350188"/>
                </a:cubicBezTo>
                <a:cubicBezTo>
                  <a:pt x="317281" y="349688"/>
                  <a:pt x="314997" y="348403"/>
                  <a:pt x="313284" y="346690"/>
                </a:cubicBezTo>
                <a:cubicBezTo>
                  <a:pt x="312071" y="345548"/>
                  <a:pt x="311143" y="344192"/>
                  <a:pt x="310500" y="342621"/>
                </a:cubicBezTo>
                <a:cubicBezTo>
                  <a:pt x="309858" y="341122"/>
                  <a:pt x="309501" y="339409"/>
                  <a:pt x="309501" y="337625"/>
                </a:cubicBezTo>
                <a:cubicBezTo>
                  <a:pt x="309501" y="331415"/>
                  <a:pt x="313927" y="326204"/>
                  <a:pt x="319780" y="324990"/>
                </a:cubicBezTo>
                <a:cubicBezTo>
                  <a:pt x="320565" y="324776"/>
                  <a:pt x="321493" y="324705"/>
                  <a:pt x="322349" y="324705"/>
                </a:cubicBezTo>
                <a:close/>
                <a:moveTo>
                  <a:pt x="479098" y="321707"/>
                </a:moveTo>
                <a:cubicBezTo>
                  <a:pt x="484594" y="321707"/>
                  <a:pt x="489376" y="324491"/>
                  <a:pt x="492232" y="328702"/>
                </a:cubicBezTo>
                <a:cubicBezTo>
                  <a:pt x="493945" y="331272"/>
                  <a:pt x="494944" y="334270"/>
                  <a:pt x="494944" y="337553"/>
                </a:cubicBezTo>
                <a:cubicBezTo>
                  <a:pt x="494944" y="339695"/>
                  <a:pt x="494516" y="341836"/>
                  <a:pt x="493731" y="343692"/>
                </a:cubicBezTo>
                <a:cubicBezTo>
                  <a:pt x="493374" y="344691"/>
                  <a:pt x="492874" y="345548"/>
                  <a:pt x="492303" y="346404"/>
                </a:cubicBezTo>
                <a:cubicBezTo>
                  <a:pt x="491732" y="347261"/>
                  <a:pt x="491090" y="348046"/>
                  <a:pt x="490304" y="348760"/>
                </a:cubicBezTo>
                <a:cubicBezTo>
                  <a:pt x="487449" y="351615"/>
                  <a:pt x="483452" y="353400"/>
                  <a:pt x="479098" y="353400"/>
                </a:cubicBezTo>
                <a:cubicBezTo>
                  <a:pt x="477956" y="353400"/>
                  <a:pt x="476885" y="353257"/>
                  <a:pt x="475886" y="353043"/>
                </a:cubicBezTo>
                <a:cubicBezTo>
                  <a:pt x="472816" y="352472"/>
                  <a:pt x="470033" y="350901"/>
                  <a:pt x="467891" y="348760"/>
                </a:cubicBezTo>
                <a:cubicBezTo>
                  <a:pt x="467177" y="348046"/>
                  <a:pt x="466535" y="347261"/>
                  <a:pt x="465964" y="346404"/>
                </a:cubicBezTo>
                <a:cubicBezTo>
                  <a:pt x="465393" y="345548"/>
                  <a:pt x="464965" y="344620"/>
                  <a:pt x="464536" y="343692"/>
                </a:cubicBezTo>
                <a:cubicBezTo>
                  <a:pt x="464108" y="342693"/>
                  <a:pt x="463823" y="341693"/>
                  <a:pt x="463608" y="340694"/>
                </a:cubicBezTo>
                <a:cubicBezTo>
                  <a:pt x="463466" y="339623"/>
                  <a:pt x="463323" y="338553"/>
                  <a:pt x="463323" y="337482"/>
                </a:cubicBezTo>
                <a:cubicBezTo>
                  <a:pt x="463323" y="336340"/>
                  <a:pt x="463394" y="335269"/>
                  <a:pt x="463608" y="334270"/>
                </a:cubicBezTo>
                <a:cubicBezTo>
                  <a:pt x="464037" y="332200"/>
                  <a:pt x="464822" y="330344"/>
                  <a:pt x="465964" y="328631"/>
                </a:cubicBezTo>
                <a:cubicBezTo>
                  <a:pt x="466535" y="327774"/>
                  <a:pt x="467177" y="326989"/>
                  <a:pt x="467891" y="326275"/>
                </a:cubicBezTo>
                <a:cubicBezTo>
                  <a:pt x="470033" y="324134"/>
                  <a:pt x="472816" y="322635"/>
                  <a:pt x="475886" y="321993"/>
                </a:cubicBezTo>
                <a:cubicBezTo>
                  <a:pt x="476956" y="321850"/>
                  <a:pt x="478027" y="321707"/>
                  <a:pt x="479098" y="321707"/>
                </a:cubicBezTo>
                <a:close/>
                <a:moveTo>
                  <a:pt x="557687" y="320066"/>
                </a:moveTo>
                <a:cubicBezTo>
                  <a:pt x="567323" y="320066"/>
                  <a:pt x="575175" y="327918"/>
                  <a:pt x="575175" y="337554"/>
                </a:cubicBezTo>
                <a:cubicBezTo>
                  <a:pt x="575175" y="339981"/>
                  <a:pt x="574675" y="342336"/>
                  <a:pt x="573819" y="344406"/>
                </a:cubicBezTo>
                <a:cubicBezTo>
                  <a:pt x="572891" y="346476"/>
                  <a:pt x="571606" y="348404"/>
                  <a:pt x="570178" y="349974"/>
                </a:cubicBezTo>
                <a:cubicBezTo>
                  <a:pt x="566966" y="353115"/>
                  <a:pt x="562612" y="355113"/>
                  <a:pt x="557758" y="355113"/>
                </a:cubicBezTo>
                <a:cubicBezTo>
                  <a:pt x="552905" y="355113"/>
                  <a:pt x="548479" y="353115"/>
                  <a:pt x="545338" y="349974"/>
                </a:cubicBezTo>
                <a:cubicBezTo>
                  <a:pt x="543697" y="348404"/>
                  <a:pt x="542412" y="346476"/>
                  <a:pt x="541555" y="344406"/>
                </a:cubicBezTo>
                <a:cubicBezTo>
                  <a:pt x="540699" y="342265"/>
                  <a:pt x="540199" y="339981"/>
                  <a:pt x="540199" y="337554"/>
                </a:cubicBezTo>
                <a:cubicBezTo>
                  <a:pt x="540199" y="327918"/>
                  <a:pt x="548051" y="320066"/>
                  <a:pt x="557687" y="320066"/>
                </a:cubicBezTo>
                <a:close/>
                <a:moveTo>
                  <a:pt x="714579" y="316140"/>
                </a:moveTo>
                <a:cubicBezTo>
                  <a:pt x="726428" y="316140"/>
                  <a:pt x="736064" y="325776"/>
                  <a:pt x="736064" y="337625"/>
                </a:cubicBezTo>
                <a:cubicBezTo>
                  <a:pt x="736064" y="340552"/>
                  <a:pt x="735422" y="343407"/>
                  <a:pt x="734351" y="345977"/>
                </a:cubicBezTo>
                <a:cubicBezTo>
                  <a:pt x="733281" y="348546"/>
                  <a:pt x="731710" y="350830"/>
                  <a:pt x="729854" y="352829"/>
                </a:cubicBezTo>
                <a:cubicBezTo>
                  <a:pt x="726000" y="356684"/>
                  <a:pt x="720575" y="359111"/>
                  <a:pt x="714651" y="359111"/>
                </a:cubicBezTo>
                <a:cubicBezTo>
                  <a:pt x="708726" y="359111"/>
                  <a:pt x="703373" y="356755"/>
                  <a:pt x="699447" y="352829"/>
                </a:cubicBezTo>
                <a:cubicBezTo>
                  <a:pt x="697448" y="350902"/>
                  <a:pt x="695878" y="348546"/>
                  <a:pt x="694807" y="345977"/>
                </a:cubicBezTo>
                <a:cubicBezTo>
                  <a:pt x="693665" y="343407"/>
                  <a:pt x="693094" y="340623"/>
                  <a:pt x="693094" y="337625"/>
                </a:cubicBezTo>
                <a:cubicBezTo>
                  <a:pt x="693094" y="325776"/>
                  <a:pt x="702730" y="316140"/>
                  <a:pt x="714579" y="316140"/>
                </a:cubicBezTo>
                <a:close/>
                <a:moveTo>
                  <a:pt x="793025" y="313784"/>
                </a:moveTo>
                <a:cubicBezTo>
                  <a:pt x="797950" y="313784"/>
                  <a:pt x="802590" y="315283"/>
                  <a:pt x="806373" y="317853"/>
                </a:cubicBezTo>
                <a:cubicBezTo>
                  <a:pt x="812725" y="322135"/>
                  <a:pt x="816865" y="329416"/>
                  <a:pt x="816865" y="337625"/>
                </a:cubicBezTo>
                <a:cubicBezTo>
                  <a:pt x="816865" y="340908"/>
                  <a:pt x="816223" y="344049"/>
                  <a:pt x="815010" y="346904"/>
                </a:cubicBezTo>
                <a:cubicBezTo>
                  <a:pt x="813796" y="349759"/>
                  <a:pt x="812012" y="352329"/>
                  <a:pt x="809870" y="354470"/>
                </a:cubicBezTo>
                <a:cubicBezTo>
                  <a:pt x="808800" y="355541"/>
                  <a:pt x="807586" y="356469"/>
                  <a:pt x="806373" y="357397"/>
                </a:cubicBezTo>
                <a:cubicBezTo>
                  <a:pt x="802518" y="359967"/>
                  <a:pt x="797950" y="361466"/>
                  <a:pt x="793025" y="361466"/>
                </a:cubicBezTo>
                <a:cubicBezTo>
                  <a:pt x="791383" y="361466"/>
                  <a:pt x="789813" y="361251"/>
                  <a:pt x="788242" y="360966"/>
                </a:cubicBezTo>
                <a:cubicBezTo>
                  <a:pt x="783603" y="360038"/>
                  <a:pt x="779391" y="357682"/>
                  <a:pt x="776179" y="354470"/>
                </a:cubicBezTo>
                <a:cubicBezTo>
                  <a:pt x="773966" y="352329"/>
                  <a:pt x="772253" y="349759"/>
                  <a:pt x="771040" y="346904"/>
                </a:cubicBezTo>
                <a:cubicBezTo>
                  <a:pt x="769826" y="344049"/>
                  <a:pt x="769184" y="340908"/>
                  <a:pt x="769184" y="337625"/>
                </a:cubicBezTo>
                <a:cubicBezTo>
                  <a:pt x="769184" y="326133"/>
                  <a:pt x="777393" y="316496"/>
                  <a:pt x="788242" y="314284"/>
                </a:cubicBezTo>
                <a:cubicBezTo>
                  <a:pt x="789741" y="313927"/>
                  <a:pt x="791383" y="313784"/>
                  <a:pt x="793025" y="313784"/>
                </a:cubicBezTo>
                <a:close/>
                <a:moveTo>
                  <a:pt x="47753" y="289372"/>
                </a:moveTo>
                <a:cubicBezTo>
                  <a:pt x="52749" y="289372"/>
                  <a:pt x="56747" y="293369"/>
                  <a:pt x="56747" y="298366"/>
                </a:cubicBezTo>
                <a:cubicBezTo>
                  <a:pt x="56747" y="303362"/>
                  <a:pt x="52749" y="307360"/>
                  <a:pt x="47753" y="307360"/>
                </a:cubicBezTo>
                <a:cubicBezTo>
                  <a:pt x="42756" y="307360"/>
                  <a:pt x="38759" y="303362"/>
                  <a:pt x="38759" y="298366"/>
                </a:cubicBezTo>
                <a:cubicBezTo>
                  <a:pt x="38759" y="293369"/>
                  <a:pt x="42756" y="289372"/>
                  <a:pt x="47753" y="289372"/>
                </a:cubicBezTo>
                <a:close/>
                <a:moveTo>
                  <a:pt x="126198" y="288373"/>
                </a:moveTo>
                <a:cubicBezTo>
                  <a:pt x="131694" y="288373"/>
                  <a:pt x="136191" y="292870"/>
                  <a:pt x="136191" y="298366"/>
                </a:cubicBezTo>
                <a:cubicBezTo>
                  <a:pt x="136191" y="303862"/>
                  <a:pt x="131694" y="308359"/>
                  <a:pt x="126198" y="308359"/>
                </a:cubicBezTo>
                <a:cubicBezTo>
                  <a:pt x="120631" y="308359"/>
                  <a:pt x="116205" y="303862"/>
                  <a:pt x="116205" y="298366"/>
                </a:cubicBezTo>
                <a:cubicBezTo>
                  <a:pt x="116205" y="292799"/>
                  <a:pt x="120702" y="288373"/>
                  <a:pt x="126198" y="288373"/>
                </a:cubicBezTo>
                <a:close/>
                <a:moveTo>
                  <a:pt x="283162" y="286160"/>
                </a:moveTo>
                <a:cubicBezTo>
                  <a:pt x="289872" y="286160"/>
                  <a:pt x="295368" y="291585"/>
                  <a:pt x="295368" y="298366"/>
                </a:cubicBezTo>
                <a:cubicBezTo>
                  <a:pt x="295368" y="305147"/>
                  <a:pt x="289872" y="310572"/>
                  <a:pt x="283162" y="310572"/>
                </a:cubicBezTo>
                <a:cubicBezTo>
                  <a:pt x="276452" y="310572"/>
                  <a:pt x="270956" y="305147"/>
                  <a:pt x="270956" y="298366"/>
                </a:cubicBezTo>
                <a:cubicBezTo>
                  <a:pt x="270956" y="291656"/>
                  <a:pt x="276381" y="286160"/>
                  <a:pt x="283162" y="286160"/>
                </a:cubicBezTo>
                <a:close/>
                <a:moveTo>
                  <a:pt x="361536" y="284804"/>
                </a:moveTo>
                <a:cubicBezTo>
                  <a:pt x="369031" y="284804"/>
                  <a:pt x="375098" y="290871"/>
                  <a:pt x="375098" y="298366"/>
                </a:cubicBezTo>
                <a:cubicBezTo>
                  <a:pt x="375098" y="305861"/>
                  <a:pt x="369031" y="311928"/>
                  <a:pt x="361536" y="311928"/>
                </a:cubicBezTo>
                <a:cubicBezTo>
                  <a:pt x="354041" y="311928"/>
                  <a:pt x="347974" y="305861"/>
                  <a:pt x="347974" y="298366"/>
                </a:cubicBezTo>
                <a:cubicBezTo>
                  <a:pt x="347974" y="290871"/>
                  <a:pt x="354041" y="284804"/>
                  <a:pt x="361536" y="284804"/>
                </a:cubicBezTo>
                <a:close/>
                <a:moveTo>
                  <a:pt x="518428" y="281735"/>
                </a:moveTo>
                <a:cubicBezTo>
                  <a:pt x="527636" y="281735"/>
                  <a:pt x="535060" y="289158"/>
                  <a:pt x="535060" y="298366"/>
                </a:cubicBezTo>
                <a:cubicBezTo>
                  <a:pt x="535060" y="307574"/>
                  <a:pt x="527636" y="314998"/>
                  <a:pt x="518428" y="314998"/>
                </a:cubicBezTo>
                <a:cubicBezTo>
                  <a:pt x="509220" y="314998"/>
                  <a:pt x="501797" y="307574"/>
                  <a:pt x="501797" y="298366"/>
                </a:cubicBezTo>
                <a:cubicBezTo>
                  <a:pt x="501797" y="289158"/>
                  <a:pt x="509220" y="281735"/>
                  <a:pt x="518428" y="281735"/>
                </a:cubicBezTo>
                <a:close/>
                <a:moveTo>
                  <a:pt x="596946" y="279950"/>
                </a:moveTo>
                <a:cubicBezTo>
                  <a:pt x="607082" y="279950"/>
                  <a:pt x="615362" y="288159"/>
                  <a:pt x="615362" y="298366"/>
                </a:cubicBezTo>
                <a:cubicBezTo>
                  <a:pt x="615362" y="308573"/>
                  <a:pt x="607082" y="316782"/>
                  <a:pt x="596946" y="316782"/>
                </a:cubicBezTo>
                <a:cubicBezTo>
                  <a:pt x="586810" y="316782"/>
                  <a:pt x="578530" y="308573"/>
                  <a:pt x="578530" y="298366"/>
                </a:cubicBezTo>
                <a:cubicBezTo>
                  <a:pt x="578530" y="288230"/>
                  <a:pt x="586739" y="279950"/>
                  <a:pt x="596946" y="279950"/>
                </a:cubicBezTo>
                <a:close/>
                <a:moveTo>
                  <a:pt x="753766" y="275739"/>
                </a:moveTo>
                <a:cubicBezTo>
                  <a:pt x="766258" y="275739"/>
                  <a:pt x="776394" y="285875"/>
                  <a:pt x="776394" y="298366"/>
                </a:cubicBezTo>
                <a:cubicBezTo>
                  <a:pt x="776394" y="310858"/>
                  <a:pt x="766258" y="320994"/>
                  <a:pt x="753766" y="320994"/>
                </a:cubicBezTo>
                <a:cubicBezTo>
                  <a:pt x="741275" y="320994"/>
                  <a:pt x="731139" y="310858"/>
                  <a:pt x="731139" y="298366"/>
                </a:cubicBezTo>
                <a:cubicBezTo>
                  <a:pt x="731139" y="285875"/>
                  <a:pt x="741275" y="275739"/>
                  <a:pt x="753766" y="275739"/>
                </a:cubicBezTo>
                <a:close/>
                <a:moveTo>
                  <a:pt x="832283" y="273241"/>
                </a:moveTo>
                <a:cubicBezTo>
                  <a:pt x="846131" y="273241"/>
                  <a:pt x="857337" y="284519"/>
                  <a:pt x="857337" y="298367"/>
                </a:cubicBezTo>
                <a:cubicBezTo>
                  <a:pt x="857337" y="312214"/>
                  <a:pt x="846059" y="323421"/>
                  <a:pt x="832283" y="323421"/>
                </a:cubicBezTo>
                <a:cubicBezTo>
                  <a:pt x="818436" y="323421"/>
                  <a:pt x="807229" y="312214"/>
                  <a:pt x="807229" y="298367"/>
                </a:cubicBezTo>
                <a:cubicBezTo>
                  <a:pt x="807229" y="284448"/>
                  <a:pt x="818436" y="273241"/>
                  <a:pt x="832283" y="273241"/>
                </a:cubicBezTo>
                <a:close/>
                <a:moveTo>
                  <a:pt x="86939" y="249685"/>
                </a:moveTo>
                <a:cubicBezTo>
                  <a:pt x="92222" y="249685"/>
                  <a:pt x="96433" y="253968"/>
                  <a:pt x="96433" y="259179"/>
                </a:cubicBezTo>
                <a:cubicBezTo>
                  <a:pt x="96433" y="264389"/>
                  <a:pt x="92222" y="268601"/>
                  <a:pt x="86939" y="268672"/>
                </a:cubicBezTo>
                <a:cubicBezTo>
                  <a:pt x="81657" y="268672"/>
                  <a:pt x="77446" y="264389"/>
                  <a:pt x="77446" y="259179"/>
                </a:cubicBezTo>
                <a:cubicBezTo>
                  <a:pt x="77446" y="253896"/>
                  <a:pt x="81729" y="249685"/>
                  <a:pt x="86939" y="249685"/>
                </a:cubicBezTo>
                <a:close/>
                <a:moveTo>
                  <a:pt x="165457" y="248686"/>
                </a:moveTo>
                <a:cubicBezTo>
                  <a:pt x="169097" y="248686"/>
                  <a:pt x="172309" y="250542"/>
                  <a:pt x="174165" y="253326"/>
                </a:cubicBezTo>
                <a:cubicBezTo>
                  <a:pt x="175307" y="254967"/>
                  <a:pt x="175950" y="257037"/>
                  <a:pt x="175950" y="259179"/>
                </a:cubicBezTo>
                <a:cubicBezTo>
                  <a:pt x="175950" y="261320"/>
                  <a:pt x="175307" y="263390"/>
                  <a:pt x="174165" y="265032"/>
                </a:cubicBezTo>
                <a:cubicBezTo>
                  <a:pt x="172238" y="267816"/>
                  <a:pt x="169026" y="269672"/>
                  <a:pt x="165457" y="269814"/>
                </a:cubicBezTo>
                <a:cubicBezTo>
                  <a:pt x="164672" y="269814"/>
                  <a:pt x="164029" y="269743"/>
                  <a:pt x="163315" y="269600"/>
                </a:cubicBezTo>
                <a:cubicBezTo>
                  <a:pt x="161317" y="269172"/>
                  <a:pt x="159461" y="268173"/>
                  <a:pt x="158033" y="266745"/>
                </a:cubicBezTo>
                <a:cubicBezTo>
                  <a:pt x="157534" y="266245"/>
                  <a:pt x="157105" y="265746"/>
                  <a:pt x="156748" y="265175"/>
                </a:cubicBezTo>
                <a:cubicBezTo>
                  <a:pt x="156035" y="264033"/>
                  <a:pt x="155464" y="262748"/>
                  <a:pt x="155178" y="261392"/>
                </a:cubicBezTo>
                <a:cubicBezTo>
                  <a:pt x="155035" y="260678"/>
                  <a:pt x="154964" y="259964"/>
                  <a:pt x="154964" y="259250"/>
                </a:cubicBezTo>
                <a:cubicBezTo>
                  <a:pt x="154964" y="258465"/>
                  <a:pt x="155035" y="257823"/>
                  <a:pt x="155178" y="257109"/>
                </a:cubicBezTo>
                <a:cubicBezTo>
                  <a:pt x="155464" y="255681"/>
                  <a:pt x="155963" y="254468"/>
                  <a:pt x="156748" y="253326"/>
                </a:cubicBezTo>
                <a:cubicBezTo>
                  <a:pt x="157105" y="252755"/>
                  <a:pt x="157534" y="252255"/>
                  <a:pt x="158033" y="251755"/>
                </a:cubicBezTo>
                <a:cubicBezTo>
                  <a:pt x="159461" y="250328"/>
                  <a:pt x="161245" y="249328"/>
                  <a:pt x="163315" y="248900"/>
                </a:cubicBezTo>
                <a:cubicBezTo>
                  <a:pt x="164029" y="248757"/>
                  <a:pt x="164743" y="248686"/>
                  <a:pt x="165457" y="248686"/>
                </a:cubicBezTo>
                <a:close/>
                <a:moveTo>
                  <a:pt x="322349" y="246259"/>
                </a:moveTo>
                <a:cubicBezTo>
                  <a:pt x="324990" y="246259"/>
                  <a:pt x="327489" y="247116"/>
                  <a:pt x="329559" y="248472"/>
                </a:cubicBezTo>
                <a:cubicBezTo>
                  <a:pt x="332913" y="250827"/>
                  <a:pt x="335198" y="254753"/>
                  <a:pt x="335198" y="259179"/>
                </a:cubicBezTo>
                <a:cubicBezTo>
                  <a:pt x="335198" y="263604"/>
                  <a:pt x="332985" y="267530"/>
                  <a:pt x="329559" y="269886"/>
                </a:cubicBezTo>
                <a:cubicBezTo>
                  <a:pt x="327489" y="271313"/>
                  <a:pt x="324990" y="272098"/>
                  <a:pt x="322349" y="272098"/>
                </a:cubicBezTo>
                <a:cubicBezTo>
                  <a:pt x="321493" y="272098"/>
                  <a:pt x="320636" y="271956"/>
                  <a:pt x="319780" y="271813"/>
                </a:cubicBezTo>
                <a:cubicBezTo>
                  <a:pt x="313927" y="270599"/>
                  <a:pt x="309501" y="265389"/>
                  <a:pt x="309501" y="259179"/>
                </a:cubicBezTo>
                <a:cubicBezTo>
                  <a:pt x="309501" y="252969"/>
                  <a:pt x="313927" y="247758"/>
                  <a:pt x="319780" y="246545"/>
                </a:cubicBezTo>
                <a:cubicBezTo>
                  <a:pt x="320565" y="246330"/>
                  <a:pt x="321493" y="246259"/>
                  <a:pt x="322349" y="246259"/>
                </a:cubicBezTo>
                <a:close/>
                <a:moveTo>
                  <a:pt x="400795" y="244903"/>
                </a:moveTo>
                <a:cubicBezTo>
                  <a:pt x="408718" y="244903"/>
                  <a:pt x="415071" y="251327"/>
                  <a:pt x="415071" y="259179"/>
                </a:cubicBezTo>
                <a:cubicBezTo>
                  <a:pt x="415071" y="267031"/>
                  <a:pt x="408647" y="273455"/>
                  <a:pt x="400795" y="273455"/>
                </a:cubicBezTo>
                <a:cubicBezTo>
                  <a:pt x="392943" y="273455"/>
                  <a:pt x="386519" y="267031"/>
                  <a:pt x="386519" y="259179"/>
                </a:cubicBezTo>
                <a:cubicBezTo>
                  <a:pt x="386519" y="251256"/>
                  <a:pt x="392943" y="244903"/>
                  <a:pt x="400795" y="244903"/>
                </a:cubicBezTo>
                <a:close/>
                <a:moveTo>
                  <a:pt x="557687" y="241691"/>
                </a:moveTo>
                <a:cubicBezTo>
                  <a:pt x="567323" y="241691"/>
                  <a:pt x="575175" y="249543"/>
                  <a:pt x="575175" y="259179"/>
                </a:cubicBezTo>
                <a:cubicBezTo>
                  <a:pt x="575175" y="268815"/>
                  <a:pt x="567323" y="276667"/>
                  <a:pt x="557687" y="276667"/>
                </a:cubicBezTo>
                <a:cubicBezTo>
                  <a:pt x="548051" y="276667"/>
                  <a:pt x="540199" y="268815"/>
                  <a:pt x="540199" y="259179"/>
                </a:cubicBezTo>
                <a:cubicBezTo>
                  <a:pt x="540199" y="249543"/>
                  <a:pt x="548051" y="241691"/>
                  <a:pt x="557687" y="241691"/>
                </a:cubicBezTo>
                <a:close/>
                <a:moveTo>
                  <a:pt x="636061" y="239764"/>
                </a:moveTo>
                <a:cubicBezTo>
                  <a:pt x="642771" y="239764"/>
                  <a:pt x="648695" y="243190"/>
                  <a:pt x="652193" y="248330"/>
                </a:cubicBezTo>
                <a:cubicBezTo>
                  <a:pt x="654263" y="251399"/>
                  <a:pt x="655476" y="255182"/>
                  <a:pt x="655476" y="259179"/>
                </a:cubicBezTo>
                <a:cubicBezTo>
                  <a:pt x="655476" y="263177"/>
                  <a:pt x="654263" y="266960"/>
                  <a:pt x="652193" y="270029"/>
                </a:cubicBezTo>
                <a:cubicBezTo>
                  <a:pt x="648695" y="275168"/>
                  <a:pt x="642842" y="278594"/>
                  <a:pt x="636061" y="278594"/>
                </a:cubicBezTo>
                <a:cubicBezTo>
                  <a:pt x="634705" y="278594"/>
                  <a:pt x="633420" y="278452"/>
                  <a:pt x="632135" y="278166"/>
                </a:cubicBezTo>
                <a:cubicBezTo>
                  <a:pt x="628352" y="277381"/>
                  <a:pt x="624997" y="275525"/>
                  <a:pt x="622356" y="272884"/>
                </a:cubicBezTo>
                <a:cubicBezTo>
                  <a:pt x="621500" y="272028"/>
                  <a:pt x="620715" y="271028"/>
                  <a:pt x="620001" y="270029"/>
                </a:cubicBezTo>
                <a:cubicBezTo>
                  <a:pt x="618573" y="267959"/>
                  <a:pt x="617574" y="265603"/>
                  <a:pt x="617074" y="263105"/>
                </a:cubicBezTo>
                <a:cubicBezTo>
                  <a:pt x="616789" y="261820"/>
                  <a:pt x="616646" y="260535"/>
                  <a:pt x="616646" y="259179"/>
                </a:cubicBezTo>
                <a:cubicBezTo>
                  <a:pt x="616646" y="257823"/>
                  <a:pt x="616789" y="256538"/>
                  <a:pt x="617074" y="255253"/>
                </a:cubicBezTo>
                <a:cubicBezTo>
                  <a:pt x="617574" y="252755"/>
                  <a:pt x="618573" y="250400"/>
                  <a:pt x="620001" y="248330"/>
                </a:cubicBezTo>
                <a:cubicBezTo>
                  <a:pt x="620715" y="247330"/>
                  <a:pt x="621500" y="246331"/>
                  <a:pt x="622356" y="245474"/>
                </a:cubicBezTo>
                <a:cubicBezTo>
                  <a:pt x="624926" y="242833"/>
                  <a:pt x="628352" y="240977"/>
                  <a:pt x="632135" y="240192"/>
                </a:cubicBezTo>
                <a:cubicBezTo>
                  <a:pt x="633420" y="239907"/>
                  <a:pt x="634705" y="239764"/>
                  <a:pt x="636061" y="239764"/>
                </a:cubicBezTo>
                <a:close/>
                <a:moveTo>
                  <a:pt x="793025" y="235338"/>
                </a:moveTo>
                <a:cubicBezTo>
                  <a:pt x="797950" y="235338"/>
                  <a:pt x="802590" y="236837"/>
                  <a:pt x="806373" y="239407"/>
                </a:cubicBezTo>
                <a:cubicBezTo>
                  <a:pt x="812725" y="243689"/>
                  <a:pt x="816865" y="250970"/>
                  <a:pt x="816865" y="259179"/>
                </a:cubicBezTo>
                <a:cubicBezTo>
                  <a:pt x="816865" y="267387"/>
                  <a:pt x="812654" y="274597"/>
                  <a:pt x="806373" y="278951"/>
                </a:cubicBezTo>
                <a:cubicBezTo>
                  <a:pt x="802518" y="281521"/>
                  <a:pt x="797950" y="283020"/>
                  <a:pt x="793025" y="283020"/>
                </a:cubicBezTo>
                <a:cubicBezTo>
                  <a:pt x="791383" y="283020"/>
                  <a:pt x="789813" y="282805"/>
                  <a:pt x="788242" y="282520"/>
                </a:cubicBezTo>
                <a:cubicBezTo>
                  <a:pt x="777321" y="280307"/>
                  <a:pt x="769184" y="270671"/>
                  <a:pt x="769184" y="259179"/>
                </a:cubicBezTo>
                <a:cubicBezTo>
                  <a:pt x="769184" y="247687"/>
                  <a:pt x="777393" y="238050"/>
                  <a:pt x="788242" y="235838"/>
                </a:cubicBezTo>
                <a:cubicBezTo>
                  <a:pt x="789741" y="235481"/>
                  <a:pt x="791383" y="235338"/>
                  <a:pt x="793025" y="235338"/>
                </a:cubicBezTo>
                <a:close/>
                <a:moveTo>
                  <a:pt x="871470" y="232768"/>
                </a:moveTo>
                <a:cubicBezTo>
                  <a:pt x="886032" y="232768"/>
                  <a:pt x="897881" y="244617"/>
                  <a:pt x="897881" y="259178"/>
                </a:cubicBezTo>
                <a:cubicBezTo>
                  <a:pt x="897881" y="273740"/>
                  <a:pt x="886032" y="285589"/>
                  <a:pt x="871470" y="285589"/>
                </a:cubicBezTo>
                <a:cubicBezTo>
                  <a:pt x="856909" y="285589"/>
                  <a:pt x="845060" y="273740"/>
                  <a:pt x="845060" y="259178"/>
                </a:cubicBezTo>
                <a:cubicBezTo>
                  <a:pt x="845060" y="244617"/>
                  <a:pt x="856909" y="232768"/>
                  <a:pt x="871470" y="232768"/>
                </a:cubicBezTo>
                <a:close/>
                <a:moveTo>
                  <a:pt x="126198" y="209927"/>
                </a:moveTo>
                <a:cubicBezTo>
                  <a:pt x="131694" y="209927"/>
                  <a:pt x="136191" y="214424"/>
                  <a:pt x="136191" y="219920"/>
                </a:cubicBezTo>
                <a:cubicBezTo>
                  <a:pt x="136191" y="225416"/>
                  <a:pt x="131694" y="229913"/>
                  <a:pt x="126198" y="229913"/>
                </a:cubicBezTo>
                <a:cubicBezTo>
                  <a:pt x="120631" y="229913"/>
                  <a:pt x="116205" y="225416"/>
                  <a:pt x="116205" y="219920"/>
                </a:cubicBezTo>
                <a:cubicBezTo>
                  <a:pt x="116205" y="214353"/>
                  <a:pt x="120702" y="209927"/>
                  <a:pt x="126198" y="209927"/>
                </a:cubicBezTo>
                <a:close/>
                <a:moveTo>
                  <a:pt x="204644" y="208856"/>
                </a:moveTo>
                <a:cubicBezTo>
                  <a:pt x="210782" y="208856"/>
                  <a:pt x="215708" y="213853"/>
                  <a:pt x="215708" y="219920"/>
                </a:cubicBezTo>
                <a:cubicBezTo>
                  <a:pt x="215708" y="226058"/>
                  <a:pt x="210782" y="230984"/>
                  <a:pt x="204644" y="230984"/>
                </a:cubicBezTo>
                <a:cubicBezTo>
                  <a:pt x="198505" y="230984"/>
                  <a:pt x="193580" y="225987"/>
                  <a:pt x="193580" y="219920"/>
                </a:cubicBezTo>
                <a:cubicBezTo>
                  <a:pt x="193580" y="213781"/>
                  <a:pt x="198577" y="208856"/>
                  <a:pt x="204644" y="208856"/>
                </a:cubicBezTo>
                <a:close/>
                <a:moveTo>
                  <a:pt x="361536" y="206358"/>
                </a:moveTo>
                <a:cubicBezTo>
                  <a:pt x="369031" y="206358"/>
                  <a:pt x="375098" y="212425"/>
                  <a:pt x="375098" y="219920"/>
                </a:cubicBezTo>
                <a:cubicBezTo>
                  <a:pt x="375098" y="227415"/>
                  <a:pt x="369031" y="233482"/>
                  <a:pt x="361536" y="233482"/>
                </a:cubicBezTo>
                <a:cubicBezTo>
                  <a:pt x="354041" y="233482"/>
                  <a:pt x="347974" y="227415"/>
                  <a:pt x="347974" y="219920"/>
                </a:cubicBezTo>
                <a:cubicBezTo>
                  <a:pt x="347974" y="212425"/>
                  <a:pt x="354041" y="206358"/>
                  <a:pt x="361536" y="206358"/>
                </a:cubicBezTo>
                <a:close/>
                <a:moveTo>
                  <a:pt x="440054" y="204930"/>
                </a:moveTo>
                <a:cubicBezTo>
                  <a:pt x="448334" y="204930"/>
                  <a:pt x="455043" y="211640"/>
                  <a:pt x="455043" y="219920"/>
                </a:cubicBezTo>
                <a:cubicBezTo>
                  <a:pt x="455043" y="228200"/>
                  <a:pt x="448262" y="234981"/>
                  <a:pt x="440054" y="234909"/>
                </a:cubicBezTo>
                <a:cubicBezTo>
                  <a:pt x="431774" y="234909"/>
                  <a:pt x="425064" y="228200"/>
                  <a:pt x="425064" y="219920"/>
                </a:cubicBezTo>
                <a:cubicBezTo>
                  <a:pt x="425064" y="211640"/>
                  <a:pt x="431774" y="204930"/>
                  <a:pt x="440054" y="204930"/>
                </a:cubicBezTo>
                <a:close/>
                <a:moveTo>
                  <a:pt x="596946" y="201504"/>
                </a:moveTo>
                <a:cubicBezTo>
                  <a:pt x="607082" y="201504"/>
                  <a:pt x="615362" y="209713"/>
                  <a:pt x="615362" y="219920"/>
                </a:cubicBezTo>
                <a:cubicBezTo>
                  <a:pt x="615362" y="230127"/>
                  <a:pt x="607082" y="238407"/>
                  <a:pt x="596946" y="238336"/>
                </a:cubicBezTo>
                <a:cubicBezTo>
                  <a:pt x="586810" y="238336"/>
                  <a:pt x="578530" y="230127"/>
                  <a:pt x="578530" y="219920"/>
                </a:cubicBezTo>
                <a:cubicBezTo>
                  <a:pt x="578530" y="209784"/>
                  <a:pt x="586739" y="201504"/>
                  <a:pt x="596946" y="201504"/>
                </a:cubicBezTo>
                <a:close/>
                <a:moveTo>
                  <a:pt x="675321" y="199506"/>
                </a:moveTo>
                <a:cubicBezTo>
                  <a:pt x="686598" y="199506"/>
                  <a:pt x="695735" y="208643"/>
                  <a:pt x="695735" y="219921"/>
                </a:cubicBezTo>
                <a:cubicBezTo>
                  <a:pt x="695735" y="231199"/>
                  <a:pt x="686598" y="240407"/>
                  <a:pt x="675321" y="240335"/>
                </a:cubicBezTo>
                <a:cubicBezTo>
                  <a:pt x="664043" y="240335"/>
                  <a:pt x="654906" y="231199"/>
                  <a:pt x="654906" y="219921"/>
                </a:cubicBezTo>
                <a:cubicBezTo>
                  <a:pt x="654906" y="208643"/>
                  <a:pt x="664043" y="199506"/>
                  <a:pt x="675321" y="199506"/>
                </a:cubicBezTo>
                <a:close/>
                <a:moveTo>
                  <a:pt x="832283" y="194866"/>
                </a:moveTo>
                <a:cubicBezTo>
                  <a:pt x="846131" y="194866"/>
                  <a:pt x="857337" y="206073"/>
                  <a:pt x="857337" y="219920"/>
                </a:cubicBezTo>
                <a:cubicBezTo>
                  <a:pt x="857337" y="233768"/>
                  <a:pt x="846059" y="245046"/>
                  <a:pt x="832283" y="245046"/>
                </a:cubicBezTo>
                <a:cubicBezTo>
                  <a:pt x="818436" y="245046"/>
                  <a:pt x="807229" y="233768"/>
                  <a:pt x="807229" y="219920"/>
                </a:cubicBezTo>
                <a:cubicBezTo>
                  <a:pt x="807229" y="206073"/>
                  <a:pt x="818436" y="194866"/>
                  <a:pt x="832283" y="194866"/>
                </a:cubicBezTo>
                <a:close/>
                <a:moveTo>
                  <a:pt x="165529" y="170240"/>
                </a:moveTo>
                <a:cubicBezTo>
                  <a:pt x="169169" y="170240"/>
                  <a:pt x="172381" y="172096"/>
                  <a:pt x="174237" y="174880"/>
                </a:cubicBezTo>
                <a:cubicBezTo>
                  <a:pt x="175379" y="176521"/>
                  <a:pt x="176022" y="178591"/>
                  <a:pt x="176022" y="180733"/>
                </a:cubicBezTo>
                <a:cubicBezTo>
                  <a:pt x="176022" y="182160"/>
                  <a:pt x="175665" y="183517"/>
                  <a:pt x="175165" y="184801"/>
                </a:cubicBezTo>
                <a:cubicBezTo>
                  <a:pt x="174879" y="185444"/>
                  <a:pt x="174523" y="186015"/>
                  <a:pt x="174166" y="186586"/>
                </a:cubicBezTo>
                <a:cubicBezTo>
                  <a:pt x="173737" y="187157"/>
                  <a:pt x="173309" y="187657"/>
                  <a:pt x="173024" y="188299"/>
                </a:cubicBezTo>
                <a:cubicBezTo>
                  <a:pt x="171096" y="190226"/>
                  <a:pt x="168527" y="191368"/>
                  <a:pt x="165600" y="191368"/>
                </a:cubicBezTo>
                <a:cubicBezTo>
                  <a:pt x="164815" y="191368"/>
                  <a:pt x="164173" y="191297"/>
                  <a:pt x="163459" y="191154"/>
                </a:cubicBezTo>
                <a:cubicBezTo>
                  <a:pt x="161460" y="190726"/>
                  <a:pt x="159604" y="189727"/>
                  <a:pt x="158177" y="188299"/>
                </a:cubicBezTo>
                <a:cubicBezTo>
                  <a:pt x="157677" y="187799"/>
                  <a:pt x="157249" y="187300"/>
                  <a:pt x="156892" y="186729"/>
                </a:cubicBezTo>
                <a:cubicBezTo>
                  <a:pt x="156464" y="186158"/>
                  <a:pt x="156178" y="185587"/>
                  <a:pt x="155893" y="184944"/>
                </a:cubicBezTo>
                <a:cubicBezTo>
                  <a:pt x="155607" y="184302"/>
                  <a:pt x="155393" y="183659"/>
                  <a:pt x="155250" y="182946"/>
                </a:cubicBezTo>
                <a:cubicBezTo>
                  <a:pt x="155107" y="182232"/>
                  <a:pt x="155036" y="181518"/>
                  <a:pt x="155036" y="180804"/>
                </a:cubicBezTo>
                <a:cubicBezTo>
                  <a:pt x="155036" y="180019"/>
                  <a:pt x="155107" y="179377"/>
                  <a:pt x="155250" y="178663"/>
                </a:cubicBezTo>
                <a:cubicBezTo>
                  <a:pt x="155536" y="177235"/>
                  <a:pt x="156035" y="176022"/>
                  <a:pt x="156820" y="174880"/>
                </a:cubicBezTo>
                <a:cubicBezTo>
                  <a:pt x="157177" y="174309"/>
                  <a:pt x="157606" y="173809"/>
                  <a:pt x="158105" y="173309"/>
                </a:cubicBezTo>
                <a:cubicBezTo>
                  <a:pt x="159533" y="171882"/>
                  <a:pt x="161317" y="170882"/>
                  <a:pt x="163387" y="170454"/>
                </a:cubicBezTo>
                <a:cubicBezTo>
                  <a:pt x="164101" y="170311"/>
                  <a:pt x="164815" y="170240"/>
                  <a:pt x="165529" y="170240"/>
                </a:cubicBezTo>
                <a:close/>
                <a:moveTo>
                  <a:pt x="243903" y="169098"/>
                </a:moveTo>
                <a:cubicBezTo>
                  <a:pt x="250327" y="169098"/>
                  <a:pt x="255538" y="174309"/>
                  <a:pt x="255538" y="180733"/>
                </a:cubicBezTo>
                <a:cubicBezTo>
                  <a:pt x="255538" y="182303"/>
                  <a:pt x="255181" y="183874"/>
                  <a:pt x="254610" y="185230"/>
                </a:cubicBezTo>
                <a:cubicBezTo>
                  <a:pt x="253967" y="186657"/>
                  <a:pt x="253182" y="187871"/>
                  <a:pt x="252111" y="188942"/>
                </a:cubicBezTo>
                <a:cubicBezTo>
                  <a:pt x="250041" y="191083"/>
                  <a:pt x="247115" y="192368"/>
                  <a:pt x="243903" y="192368"/>
                </a:cubicBezTo>
                <a:cubicBezTo>
                  <a:pt x="240691" y="192368"/>
                  <a:pt x="237764" y="191012"/>
                  <a:pt x="235694" y="188942"/>
                </a:cubicBezTo>
                <a:cubicBezTo>
                  <a:pt x="234624" y="187871"/>
                  <a:pt x="233767" y="186586"/>
                  <a:pt x="233196" y="185230"/>
                </a:cubicBezTo>
                <a:cubicBezTo>
                  <a:pt x="232625" y="183874"/>
                  <a:pt x="232268" y="182303"/>
                  <a:pt x="232268" y="180733"/>
                </a:cubicBezTo>
                <a:cubicBezTo>
                  <a:pt x="232268" y="174309"/>
                  <a:pt x="237479" y="169098"/>
                  <a:pt x="243903" y="169098"/>
                </a:cubicBezTo>
                <a:close/>
                <a:moveTo>
                  <a:pt x="400795" y="166385"/>
                </a:moveTo>
                <a:cubicBezTo>
                  <a:pt x="408718" y="166385"/>
                  <a:pt x="415071" y="172809"/>
                  <a:pt x="415071" y="180661"/>
                </a:cubicBezTo>
                <a:cubicBezTo>
                  <a:pt x="415071" y="182660"/>
                  <a:pt x="414642" y="184515"/>
                  <a:pt x="413929" y="186229"/>
                </a:cubicBezTo>
                <a:cubicBezTo>
                  <a:pt x="413215" y="187942"/>
                  <a:pt x="412144" y="189512"/>
                  <a:pt x="410859" y="190797"/>
                </a:cubicBezTo>
                <a:cubicBezTo>
                  <a:pt x="408290" y="193438"/>
                  <a:pt x="404721" y="195008"/>
                  <a:pt x="400795" y="195008"/>
                </a:cubicBezTo>
                <a:cubicBezTo>
                  <a:pt x="396869" y="195008"/>
                  <a:pt x="393300" y="193366"/>
                  <a:pt x="390730" y="190797"/>
                </a:cubicBezTo>
                <a:cubicBezTo>
                  <a:pt x="389446" y="189441"/>
                  <a:pt x="388375" y="187942"/>
                  <a:pt x="387661" y="186229"/>
                </a:cubicBezTo>
                <a:cubicBezTo>
                  <a:pt x="386947" y="184515"/>
                  <a:pt x="386519" y="182660"/>
                  <a:pt x="386519" y="180661"/>
                </a:cubicBezTo>
                <a:cubicBezTo>
                  <a:pt x="386519" y="172738"/>
                  <a:pt x="392943" y="166385"/>
                  <a:pt x="400795" y="166385"/>
                </a:cubicBezTo>
                <a:close/>
                <a:moveTo>
                  <a:pt x="479098" y="164815"/>
                </a:moveTo>
                <a:cubicBezTo>
                  <a:pt x="484594" y="164815"/>
                  <a:pt x="489376" y="167599"/>
                  <a:pt x="492232" y="171810"/>
                </a:cubicBezTo>
                <a:cubicBezTo>
                  <a:pt x="493945" y="174380"/>
                  <a:pt x="494944" y="177378"/>
                  <a:pt x="494944" y="180661"/>
                </a:cubicBezTo>
                <a:cubicBezTo>
                  <a:pt x="494944" y="182803"/>
                  <a:pt x="494516" y="184873"/>
                  <a:pt x="493731" y="186800"/>
                </a:cubicBezTo>
                <a:cubicBezTo>
                  <a:pt x="493374" y="187799"/>
                  <a:pt x="492874" y="188656"/>
                  <a:pt x="492303" y="189512"/>
                </a:cubicBezTo>
                <a:cubicBezTo>
                  <a:pt x="491732" y="190369"/>
                  <a:pt x="491090" y="191154"/>
                  <a:pt x="490304" y="191939"/>
                </a:cubicBezTo>
                <a:cubicBezTo>
                  <a:pt x="487449" y="194794"/>
                  <a:pt x="483452" y="196579"/>
                  <a:pt x="479098" y="196579"/>
                </a:cubicBezTo>
                <a:cubicBezTo>
                  <a:pt x="477956" y="196579"/>
                  <a:pt x="476885" y="196436"/>
                  <a:pt x="475886" y="196222"/>
                </a:cubicBezTo>
                <a:cubicBezTo>
                  <a:pt x="472816" y="195651"/>
                  <a:pt x="470033" y="194081"/>
                  <a:pt x="467891" y="191939"/>
                </a:cubicBezTo>
                <a:cubicBezTo>
                  <a:pt x="467177" y="191225"/>
                  <a:pt x="466535" y="190440"/>
                  <a:pt x="465964" y="189584"/>
                </a:cubicBezTo>
                <a:cubicBezTo>
                  <a:pt x="465393" y="188727"/>
                  <a:pt x="464965" y="187799"/>
                  <a:pt x="464536" y="186871"/>
                </a:cubicBezTo>
                <a:cubicBezTo>
                  <a:pt x="464108" y="185872"/>
                  <a:pt x="463823" y="184873"/>
                  <a:pt x="463608" y="183873"/>
                </a:cubicBezTo>
                <a:cubicBezTo>
                  <a:pt x="463466" y="182803"/>
                  <a:pt x="463323" y="181732"/>
                  <a:pt x="463323" y="180661"/>
                </a:cubicBezTo>
                <a:cubicBezTo>
                  <a:pt x="463323" y="179519"/>
                  <a:pt x="463394" y="178449"/>
                  <a:pt x="463608" y="177449"/>
                </a:cubicBezTo>
                <a:cubicBezTo>
                  <a:pt x="464037" y="175379"/>
                  <a:pt x="464822" y="173523"/>
                  <a:pt x="465964" y="171810"/>
                </a:cubicBezTo>
                <a:cubicBezTo>
                  <a:pt x="466535" y="170954"/>
                  <a:pt x="467177" y="170168"/>
                  <a:pt x="467891" y="169455"/>
                </a:cubicBezTo>
                <a:cubicBezTo>
                  <a:pt x="470033" y="167313"/>
                  <a:pt x="472816" y="165814"/>
                  <a:pt x="475886" y="165172"/>
                </a:cubicBezTo>
                <a:cubicBezTo>
                  <a:pt x="476956" y="164958"/>
                  <a:pt x="478027" y="164815"/>
                  <a:pt x="479098" y="164815"/>
                </a:cubicBezTo>
                <a:close/>
                <a:moveTo>
                  <a:pt x="636061" y="161317"/>
                </a:moveTo>
                <a:cubicBezTo>
                  <a:pt x="642771" y="161317"/>
                  <a:pt x="648695" y="164743"/>
                  <a:pt x="652193" y="169883"/>
                </a:cubicBezTo>
                <a:cubicBezTo>
                  <a:pt x="654263" y="172952"/>
                  <a:pt x="655476" y="176735"/>
                  <a:pt x="655476" y="180732"/>
                </a:cubicBezTo>
                <a:cubicBezTo>
                  <a:pt x="655476" y="183445"/>
                  <a:pt x="654977" y="185943"/>
                  <a:pt x="653977" y="188298"/>
                </a:cubicBezTo>
                <a:cubicBezTo>
                  <a:pt x="653478" y="189441"/>
                  <a:pt x="652907" y="190583"/>
                  <a:pt x="652193" y="191582"/>
                </a:cubicBezTo>
                <a:cubicBezTo>
                  <a:pt x="651479" y="192581"/>
                  <a:pt x="650694" y="193581"/>
                  <a:pt x="649766" y="194437"/>
                </a:cubicBezTo>
                <a:cubicBezTo>
                  <a:pt x="646268" y="198006"/>
                  <a:pt x="641415" y="200148"/>
                  <a:pt x="636061" y="200148"/>
                </a:cubicBezTo>
                <a:cubicBezTo>
                  <a:pt x="634705" y="200148"/>
                  <a:pt x="633420" y="200005"/>
                  <a:pt x="632135" y="199719"/>
                </a:cubicBezTo>
                <a:cubicBezTo>
                  <a:pt x="628352" y="198934"/>
                  <a:pt x="624997" y="197078"/>
                  <a:pt x="622356" y="194437"/>
                </a:cubicBezTo>
                <a:cubicBezTo>
                  <a:pt x="621500" y="193581"/>
                  <a:pt x="620715" y="192581"/>
                  <a:pt x="620001" y="191582"/>
                </a:cubicBezTo>
                <a:cubicBezTo>
                  <a:pt x="619287" y="190583"/>
                  <a:pt x="618716" y="189441"/>
                  <a:pt x="618216" y="188298"/>
                </a:cubicBezTo>
                <a:cubicBezTo>
                  <a:pt x="617717" y="187156"/>
                  <a:pt x="617360" y="185943"/>
                  <a:pt x="617074" y="184658"/>
                </a:cubicBezTo>
                <a:cubicBezTo>
                  <a:pt x="616789" y="183373"/>
                  <a:pt x="616646" y="182088"/>
                  <a:pt x="616646" y="180732"/>
                </a:cubicBezTo>
                <a:cubicBezTo>
                  <a:pt x="616646" y="179376"/>
                  <a:pt x="616789" y="178091"/>
                  <a:pt x="617074" y="176806"/>
                </a:cubicBezTo>
                <a:cubicBezTo>
                  <a:pt x="617574" y="174308"/>
                  <a:pt x="618573" y="171953"/>
                  <a:pt x="620001" y="169883"/>
                </a:cubicBezTo>
                <a:cubicBezTo>
                  <a:pt x="620715" y="168883"/>
                  <a:pt x="621500" y="167884"/>
                  <a:pt x="622356" y="167027"/>
                </a:cubicBezTo>
                <a:cubicBezTo>
                  <a:pt x="624926" y="164386"/>
                  <a:pt x="628352" y="162530"/>
                  <a:pt x="632135" y="161745"/>
                </a:cubicBezTo>
                <a:cubicBezTo>
                  <a:pt x="633420" y="161460"/>
                  <a:pt x="634705" y="161317"/>
                  <a:pt x="636061" y="161317"/>
                </a:cubicBezTo>
                <a:close/>
                <a:moveTo>
                  <a:pt x="714579" y="159247"/>
                </a:moveTo>
                <a:cubicBezTo>
                  <a:pt x="726428" y="159247"/>
                  <a:pt x="736064" y="168883"/>
                  <a:pt x="736064" y="180732"/>
                </a:cubicBezTo>
                <a:cubicBezTo>
                  <a:pt x="736064" y="183659"/>
                  <a:pt x="735422" y="186514"/>
                  <a:pt x="734351" y="189084"/>
                </a:cubicBezTo>
                <a:cubicBezTo>
                  <a:pt x="733281" y="191653"/>
                  <a:pt x="731710" y="193937"/>
                  <a:pt x="729854" y="195936"/>
                </a:cubicBezTo>
                <a:cubicBezTo>
                  <a:pt x="726000" y="199791"/>
                  <a:pt x="720575" y="202218"/>
                  <a:pt x="714651" y="202218"/>
                </a:cubicBezTo>
                <a:cubicBezTo>
                  <a:pt x="708726" y="202218"/>
                  <a:pt x="703373" y="199862"/>
                  <a:pt x="699447" y="195936"/>
                </a:cubicBezTo>
                <a:cubicBezTo>
                  <a:pt x="697448" y="194009"/>
                  <a:pt x="695878" y="191653"/>
                  <a:pt x="694807" y="189084"/>
                </a:cubicBezTo>
                <a:cubicBezTo>
                  <a:pt x="693665" y="186514"/>
                  <a:pt x="693094" y="183730"/>
                  <a:pt x="693094" y="180732"/>
                </a:cubicBezTo>
                <a:cubicBezTo>
                  <a:pt x="693094" y="168883"/>
                  <a:pt x="702730" y="159247"/>
                  <a:pt x="714579" y="159247"/>
                </a:cubicBezTo>
                <a:close/>
                <a:moveTo>
                  <a:pt x="871470" y="154322"/>
                </a:moveTo>
                <a:cubicBezTo>
                  <a:pt x="886032" y="154322"/>
                  <a:pt x="897881" y="166171"/>
                  <a:pt x="897881" y="180732"/>
                </a:cubicBezTo>
                <a:cubicBezTo>
                  <a:pt x="897881" y="184373"/>
                  <a:pt x="897167" y="187870"/>
                  <a:pt x="895811" y="191011"/>
                </a:cubicBezTo>
                <a:cubicBezTo>
                  <a:pt x="894455" y="194152"/>
                  <a:pt x="892527" y="197007"/>
                  <a:pt x="890172" y="199434"/>
                </a:cubicBezTo>
                <a:cubicBezTo>
                  <a:pt x="885389" y="204216"/>
                  <a:pt x="878751" y="207143"/>
                  <a:pt x="871470" y="207143"/>
                </a:cubicBezTo>
                <a:cubicBezTo>
                  <a:pt x="864118" y="207143"/>
                  <a:pt x="857551" y="204216"/>
                  <a:pt x="852769" y="199434"/>
                </a:cubicBezTo>
                <a:cubicBezTo>
                  <a:pt x="850413" y="197007"/>
                  <a:pt x="848486" y="194152"/>
                  <a:pt x="847130" y="191011"/>
                </a:cubicBezTo>
                <a:cubicBezTo>
                  <a:pt x="845774" y="187870"/>
                  <a:pt x="845060" y="184373"/>
                  <a:pt x="845060" y="180732"/>
                </a:cubicBezTo>
                <a:cubicBezTo>
                  <a:pt x="845060" y="166171"/>
                  <a:pt x="856909" y="154322"/>
                  <a:pt x="871470" y="154322"/>
                </a:cubicBezTo>
                <a:close/>
                <a:moveTo>
                  <a:pt x="126198" y="131481"/>
                </a:moveTo>
                <a:cubicBezTo>
                  <a:pt x="131694" y="131481"/>
                  <a:pt x="136191" y="135978"/>
                  <a:pt x="136191" y="141474"/>
                </a:cubicBezTo>
                <a:cubicBezTo>
                  <a:pt x="136191" y="146970"/>
                  <a:pt x="131694" y="151467"/>
                  <a:pt x="126198" y="151467"/>
                </a:cubicBezTo>
                <a:cubicBezTo>
                  <a:pt x="120631" y="151467"/>
                  <a:pt x="116205" y="146970"/>
                  <a:pt x="116205" y="141474"/>
                </a:cubicBezTo>
                <a:cubicBezTo>
                  <a:pt x="116205" y="135907"/>
                  <a:pt x="120702" y="131481"/>
                  <a:pt x="126198" y="131481"/>
                </a:cubicBezTo>
                <a:close/>
                <a:moveTo>
                  <a:pt x="204644" y="130410"/>
                </a:moveTo>
                <a:cubicBezTo>
                  <a:pt x="210782" y="130410"/>
                  <a:pt x="215708" y="135407"/>
                  <a:pt x="215708" y="141474"/>
                </a:cubicBezTo>
                <a:cubicBezTo>
                  <a:pt x="215708" y="147612"/>
                  <a:pt x="210782" y="152538"/>
                  <a:pt x="204644" y="152538"/>
                </a:cubicBezTo>
                <a:cubicBezTo>
                  <a:pt x="198505" y="152538"/>
                  <a:pt x="193580" y="147541"/>
                  <a:pt x="193580" y="141474"/>
                </a:cubicBezTo>
                <a:cubicBezTo>
                  <a:pt x="193580" y="135335"/>
                  <a:pt x="198577" y="130410"/>
                  <a:pt x="204644" y="130410"/>
                </a:cubicBezTo>
                <a:close/>
                <a:moveTo>
                  <a:pt x="361536" y="127912"/>
                </a:moveTo>
                <a:cubicBezTo>
                  <a:pt x="369031" y="127912"/>
                  <a:pt x="375098" y="133979"/>
                  <a:pt x="375098" y="141474"/>
                </a:cubicBezTo>
                <a:cubicBezTo>
                  <a:pt x="375098" y="148969"/>
                  <a:pt x="369031" y="155036"/>
                  <a:pt x="361536" y="155036"/>
                </a:cubicBezTo>
                <a:cubicBezTo>
                  <a:pt x="354041" y="155036"/>
                  <a:pt x="347974" y="148969"/>
                  <a:pt x="347974" y="141474"/>
                </a:cubicBezTo>
                <a:cubicBezTo>
                  <a:pt x="347974" y="133979"/>
                  <a:pt x="354041" y="127912"/>
                  <a:pt x="361536" y="127912"/>
                </a:cubicBezTo>
                <a:close/>
                <a:moveTo>
                  <a:pt x="440054" y="126484"/>
                </a:moveTo>
                <a:cubicBezTo>
                  <a:pt x="448334" y="126484"/>
                  <a:pt x="455043" y="133194"/>
                  <a:pt x="455043" y="141474"/>
                </a:cubicBezTo>
                <a:cubicBezTo>
                  <a:pt x="455043" y="149754"/>
                  <a:pt x="448262" y="156535"/>
                  <a:pt x="440054" y="156463"/>
                </a:cubicBezTo>
                <a:cubicBezTo>
                  <a:pt x="431774" y="156463"/>
                  <a:pt x="425064" y="149754"/>
                  <a:pt x="425064" y="141474"/>
                </a:cubicBezTo>
                <a:cubicBezTo>
                  <a:pt x="425064" y="133194"/>
                  <a:pt x="431774" y="126484"/>
                  <a:pt x="440054" y="126484"/>
                </a:cubicBezTo>
                <a:close/>
                <a:moveTo>
                  <a:pt x="596946" y="123058"/>
                </a:moveTo>
                <a:cubicBezTo>
                  <a:pt x="607082" y="123058"/>
                  <a:pt x="615362" y="131267"/>
                  <a:pt x="615362" y="141474"/>
                </a:cubicBezTo>
                <a:cubicBezTo>
                  <a:pt x="615362" y="151681"/>
                  <a:pt x="607082" y="159890"/>
                  <a:pt x="596946" y="159890"/>
                </a:cubicBezTo>
                <a:cubicBezTo>
                  <a:pt x="586810" y="159890"/>
                  <a:pt x="578530" y="151681"/>
                  <a:pt x="578530" y="141474"/>
                </a:cubicBezTo>
                <a:cubicBezTo>
                  <a:pt x="578530" y="131338"/>
                  <a:pt x="586739" y="123058"/>
                  <a:pt x="596946" y="123058"/>
                </a:cubicBezTo>
                <a:close/>
                <a:moveTo>
                  <a:pt x="675321" y="121059"/>
                </a:moveTo>
                <a:cubicBezTo>
                  <a:pt x="686598" y="121059"/>
                  <a:pt x="695735" y="130196"/>
                  <a:pt x="695735" y="141474"/>
                </a:cubicBezTo>
                <a:cubicBezTo>
                  <a:pt x="695735" y="152752"/>
                  <a:pt x="686598" y="161888"/>
                  <a:pt x="675321" y="161888"/>
                </a:cubicBezTo>
                <a:cubicBezTo>
                  <a:pt x="664043" y="161888"/>
                  <a:pt x="654906" y="152752"/>
                  <a:pt x="654906" y="141474"/>
                </a:cubicBezTo>
                <a:cubicBezTo>
                  <a:pt x="654906" y="130196"/>
                  <a:pt x="664043" y="121059"/>
                  <a:pt x="675321" y="121059"/>
                </a:cubicBezTo>
                <a:close/>
                <a:moveTo>
                  <a:pt x="832283" y="116348"/>
                </a:moveTo>
                <a:cubicBezTo>
                  <a:pt x="846131" y="116348"/>
                  <a:pt x="857337" y="127626"/>
                  <a:pt x="857337" y="141474"/>
                </a:cubicBezTo>
                <a:cubicBezTo>
                  <a:pt x="857337" y="155321"/>
                  <a:pt x="846059" y="166599"/>
                  <a:pt x="832283" y="166528"/>
                </a:cubicBezTo>
                <a:cubicBezTo>
                  <a:pt x="818436" y="166528"/>
                  <a:pt x="807229" y="155321"/>
                  <a:pt x="807229" y="141474"/>
                </a:cubicBezTo>
                <a:cubicBezTo>
                  <a:pt x="807229" y="127555"/>
                  <a:pt x="818436" y="116348"/>
                  <a:pt x="832283" y="116348"/>
                </a:cubicBezTo>
                <a:close/>
                <a:moveTo>
                  <a:pt x="910730" y="113636"/>
                </a:moveTo>
                <a:cubicBezTo>
                  <a:pt x="926076" y="113636"/>
                  <a:pt x="938496" y="126127"/>
                  <a:pt x="938496" y="141474"/>
                </a:cubicBezTo>
                <a:lnTo>
                  <a:pt x="930397" y="161004"/>
                </a:lnTo>
                <a:lnTo>
                  <a:pt x="949989" y="152895"/>
                </a:lnTo>
                <a:cubicBezTo>
                  <a:pt x="965335" y="152895"/>
                  <a:pt x="977755" y="165315"/>
                  <a:pt x="977755" y="180662"/>
                </a:cubicBezTo>
                <a:cubicBezTo>
                  <a:pt x="977755" y="184516"/>
                  <a:pt x="976970" y="188157"/>
                  <a:pt x="975542" y="191511"/>
                </a:cubicBezTo>
                <a:cubicBezTo>
                  <a:pt x="974115" y="194866"/>
                  <a:pt x="972045" y="197864"/>
                  <a:pt x="969618" y="200362"/>
                </a:cubicBezTo>
                <a:cubicBezTo>
                  <a:pt x="964621" y="205359"/>
                  <a:pt x="957698" y="208500"/>
                  <a:pt x="949989" y="208500"/>
                </a:cubicBezTo>
                <a:lnTo>
                  <a:pt x="930410" y="200383"/>
                </a:lnTo>
                <a:lnTo>
                  <a:pt x="938496" y="219920"/>
                </a:lnTo>
                <a:cubicBezTo>
                  <a:pt x="938496" y="235266"/>
                  <a:pt x="926005" y="247758"/>
                  <a:pt x="910730" y="247758"/>
                </a:cubicBezTo>
                <a:cubicBezTo>
                  <a:pt x="895383" y="247758"/>
                  <a:pt x="882963" y="235266"/>
                  <a:pt x="882963" y="219920"/>
                </a:cubicBezTo>
                <a:cubicBezTo>
                  <a:pt x="882963" y="204573"/>
                  <a:pt x="895383" y="192153"/>
                  <a:pt x="910730" y="192153"/>
                </a:cubicBezTo>
                <a:lnTo>
                  <a:pt x="930281" y="200246"/>
                </a:lnTo>
                <a:lnTo>
                  <a:pt x="924435" y="191511"/>
                </a:lnTo>
                <a:cubicBezTo>
                  <a:pt x="923007" y="188157"/>
                  <a:pt x="922222" y="184516"/>
                  <a:pt x="922222" y="180662"/>
                </a:cubicBezTo>
                <a:lnTo>
                  <a:pt x="930295" y="161159"/>
                </a:lnTo>
                <a:lnTo>
                  <a:pt x="910730" y="169241"/>
                </a:lnTo>
                <a:cubicBezTo>
                  <a:pt x="895383" y="169241"/>
                  <a:pt x="882963" y="156821"/>
                  <a:pt x="882963" y="141474"/>
                </a:cubicBezTo>
                <a:cubicBezTo>
                  <a:pt x="882963" y="126056"/>
                  <a:pt x="895383" y="113636"/>
                  <a:pt x="910730" y="113636"/>
                </a:cubicBezTo>
                <a:close/>
                <a:moveTo>
                  <a:pt x="86939" y="92793"/>
                </a:moveTo>
                <a:cubicBezTo>
                  <a:pt x="92222" y="92793"/>
                  <a:pt x="96433" y="97076"/>
                  <a:pt x="96433" y="102286"/>
                </a:cubicBezTo>
                <a:cubicBezTo>
                  <a:pt x="96433" y="107497"/>
                  <a:pt x="92222" y="111709"/>
                  <a:pt x="86939" y="111780"/>
                </a:cubicBezTo>
                <a:cubicBezTo>
                  <a:pt x="81657" y="111780"/>
                  <a:pt x="77446" y="107497"/>
                  <a:pt x="77446" y="102286"/>
                </a:cubicBezTo>
                <a:cubicBezTo>
                  <a:pt x="77446" y="97004"/>
                  <a:pt x="81729" y="92793"/>
                  <a:pt x="86939" y="92793"/>
                </a:cubicBezTo>
                <a:close/>
                <a:moveTo>
                  <a:pt x="165457" y="91794"/>
                </a:moveTo>
                <a:cubicBezTo>
                  <a:pt x="169097" y="91794"/>
                  <a:pt x="172309" y="93650"/>
                  <a:pt x="174165" y="96434"/>
                </a:cubicBezTo>
                <a:cubicBezTo>
                  <a:pt x="175307" y="98075"/>
                  <a:pt x="175950" y="100145"/>
                  <a:pt x="175950" y="102287"/>
                </a:cubicBezTo>
                <a:cubicBezTo>
                  <a:pt x="175950" y="104428"/>
                  <a:pt x="175307" y="106498"/>
                  <a:pt x="174165" y="108140"/>
                </a:cubicBezTo>
                <a:cubicBezTo>
                  <a:pt x="172238" y="110924"/>
                  <a:pt x="169026" y="112780"/>
                  <a:pt x="165457" y="112922"/>
                </a:cubicBezTo>
                <a:cubicBezTo>
                  <a:pt x="164672" y="112922"/>
                  <a:pt x="164029" y="112851"/>
                  <a:pt x="163315" y="112708"/>
                </a:cubicBezTo>
                <a:cubicBezTo>
                  <a:pt x="161317" y="112280"/>
                  <a:pt x="159461" y="111281"/>
                  <a:pt x="158033" y="109853"/>
                </a:cubicBezTo>
                <a:cubicBezTo>
                  <a:pt x="157534" y="109353"/>
                  <a:pt x="157105" y="108854"/>
                  <a:pt x="156748" y="108283"/>
                </a:cubicBezTo>
                <a:cubicBezTo>
                  <a:pt x="156035" y="107141"/>
                  <a:pt x="155464" y="105856"/>
                  <a:pt x="155178" y="104500"/>
                </a:cubicBezTo>
                <a:cubicBezTo>
                  <a:pt x="155035" y="103786"/>
                  <a:pt x="154964" y="103072"/>
                  <a:pt x="154964" y="102358"/>
                </a:cubicBezTo>
                <a:cubicBezTo>
                  <a:pt x="154964" y="101573"/>
                  <a:pt x="155035" y="100931"/>
                  <a:pt x="155178" y="100217"/>
                </a:cubicBezTo>
                <a:cubicBezTo>
                  <a:pt x="155464" y="98789"/>
                  <a:pt x="155963" y="97576"/>
                  <a:pt x="156748" y="96434"/>
                </a:cubicBezTo>
                <a:cubicBezTo>
                  <a:pt x="157105" y="95863"/>
                  <a:pt x="157534" y="95363"/>
                  <a:pt x="158033" y="94863"/>
                </a:cubicBezTo>
                <a:cubicBezTo>
                  <a:pt x="159461" y="93436"/>
                  <a:pt x="161245" y="92436"/>
                  <a:pt x="163315" y="92008"/>
                </a:cubicBezTo>
                <a:cubicBezTo>
                  <a:pt x="164029" y="91865"/>
                  <a:pt x="164743" y="91794"/>
                  <a:pt x="165457" y="91794"/>
                </a:cubicBezTo>
                <a:close/>
                <a:moveTo>
                  <a:pt x="322349" y="89367"/>
                </a:moveTo>
                <a:cubicBezTo>
                  <a:pt x="324990" y="89367"/>
                  <a:pt x="327489" y="90224"/>
                  <a:pt x="329559" y="91580"/>
                </a:cubicBezTo>
                <a:cubicBezTo>
                  <a:pt x="332913" y="93935"/>
                  <a:pt x="335198" y="97861"/>
                  <a:pt x="335198" y="102287"/>
                </a:cubicBezTo>
                <a:cubicBezTo>
                  <a:pt x="335198" y="106712"/>
                  <a:pt x="332985" y="110638"/>
                  <a:pt x="329559" y="112994"/>
                </a:cubicBezTo>
                <a:cubicBezTo>
                  <a:pt x="327489" y="114421"/>
                  <a:pt x="324990" y="115206"/>
                  <a:pt x="322349" y="115206"/>
                </a:cubicBezTo>
                <a:cubicBezTo>
                  <a:pt x="321493" y="115206"/>
                  <a:pt x="320636" y="115064"/>
                  <a:pt x="319780" y="114921"/>
                </a:cubicBezTo>
                <a:cubicBezTo>
                  <a:pt x="313927" y="113707"/>
                  <a:pt x="309501" y="108497"/>
                  <a:pt x="309501" y="102287"/>
                </a:cubicBezTo>
                <a:cubicBezTo>
                  <a:pt x="309501" y="96077"/>
                  <a:pt x="313927" y="90866"/>
                  <a:pt x="319780" y="89653"/>
                </a:cubicBezTo>
                <a:cubicBezTo>
                  <a:pt x="320565" y="89438"/>
                  <a:pt x="321493" y="89367"/>
                  <a:pt x="322349" y="89367"/>
                </a:cubicBezTo>
                <a:close/>
                <a:moveTo>
                  <a:pt x="400795" y="88011"/>
                </a:moveTo>
                <a:cubicBezTo>
                  <a:pt x="408718" y="88011"/>
                  <a:pt x="415071" y="94435"/>
                  <a:pt x="415071" y="102287"/>
                </a:cubicBezTo>
                <a:cubicBezTo>
                  <a:pt x="415071" y="110139"/>
                  <a:pt x="408647" y="116563"/>
                  <a:pt x="400795" y="116563"/>
                </a:cubicBezTo>
                <a:cubicBezTo>
                  <a:pt x="392943" y="116563"/>
                  <a:pt x="386519" y="110139"/>
                  <a:pt x="386519" y="102287"/>
                </a:cubicBezTo>
                <a:cubicBezTo>
                  <a:pt x="386519" y="94364"/>
                  <a:pt x="392943" y="88011"/>
                  <a:pt x="400795" y="88011"/>
                </a:cubicBezTo>
                <a:close/>
                <a:moveTo>
                  <a:pt x="557687" y="84798"/>
                </a:moveTo>
                <a:cubicBezTo>
                  <a:pt x="567323" y="84798"/>
                  <a:pt x="575175" y="92650"/>
                  <a:pt x="575175" y="102286"/>
                </a:cubicBezTo>
                <a:cubicBezTo>
                  <a:pt x="575175" y="111922"/>
                  <a:pt x="567323" y="119774"/>
                  <a:pt x="557687" y="119774"/>
                </a:cubicBezTo>
                <a:cubicBezTo>
                  <a:pt x="548051" y="119774"/>
                  <a:pt x="540199" y="111922"/>
                  <a:pt x="540199" y="102286"/>
                </a:cubicBezTo>
                <a:cubicBezTo>
                  <a:pt x="540199" y="92650"/>
                  <a:pt x="548051" y="84798"/>
                  <a:pt x="557687" y="84798"/>
                </a:cubicBezTo>
                <a:close/>
                <a:moveTo>
                  <a:pt x="636061" y="82871"/>
                </a:moveTo>
                <a:cubicBezTo>
                  <a:pt x="642771" y="82871"/>
                  <a:pt x="648695" y="86297"/>
                  <a:pt x="652193" y="91437"/>
                </a:cubicBezTo>
                <a:cubicBezTo>
                  <a:pt x="654263" y="94506"/>
                  <a:pt x="655476" y="98289"/>
                  <a:pt x="655476" y="102286"/>
                </a:cubicBezTo>
                <a:cubicBezTo>
                  <a:pt x="655476" y="106284"/>
                  <a:pt x="654263" y="110067"/>
                  <a:pt x="652193" y="113136"/>
                </a:cubicBezTo>
                <a:cubicBezTo>
                  <a:pt x="648695" y="118275"/>
                  <a:pt x="642842" y="121702"/>
                  <a:pt x="636061" y="121702"/>
                </a:cubicBezTo>
                <a:cubicBezTo>
                  <a:pt x="634705" y="121702"/>
                  <a:pt x="633420" y="121559"/>
                  <a:pt x="632135" y="121273"/>
                </a:cubicBezTo>
                <a:cubicBezTo>
                  <a:pt x="628352" y="120488"/>
                  <a:pt x="624997" y="118632"/>
                  <a:pt x="622356" y="115991"/>
                </a:cubicBezTo>
                <a:cubicBezTo>
                  <a:pt x="621500" y="115135"/>
                  <a:pt x="620715" y="114135"/>
                  <a:pt x="620001" y="113136"/>
                </a:cubicBezTo>
                <a:cubicBezTo>
                  <a:pt x="618573" y="111066"/>
                  <a:pt x="617574" y="108710"/>
                  <a:pt x="617074" y="106212"/>
                </a:cubicBezTo>
                <a:cubicBezTo>
                  <a:pt x="616789" y="104927"/>
                  <a:pt x="616646" y="103642"/>
                  <a:pt x="616646" y="102286"/>
                </a:cubicBezTo>
                <a:cubicBezTo>
                  <a:pt x="616646" y="100930"/>
                  <a:pt x="616789" y="99645"/>
                  <a:pt x="617074" y="98360"/>
                </a:cubicBezTo>
                <a:cubicBezTo>
                  <a:pt x="617574" y="95862"/>
                  <a:pt x="618573" y="93507"/>
                  <a:pt x="620001" y="91437"/>
                </a:cubicBezTo>
                <a:cubicBezTo>
                  <a:pt x="620715" y="90437"/>
                  <a:pt x="621500" y="89438"/>
                  <a:pt x="622356" y="88581"/>
                </a:cubicBezTo>
                <a:cubicBezTo>
                  <a:pt x="624926" y="85940"/>
                  <a:pt x="628352" y="84084"/>
                  <a:pt x="632135" y="83299"/>
                </a:cubicBezTo>
                <a:cubicBezTo>
                  <a:pt x="633420" y="83014"/>
                  <a:pt x="634705" y="82871"/>
                  <a:pt x="636061" y="82871"/>
                </a:cubicBezTo>
                <a:close/>
                <a:moveTo>
                  <a:pt x="793025" y="78446"/>
                </a:moveTo>
                <a:cubicBezTo>
                  <a:pt x="797950" y="78446"/>
                  <a:pt x="802590" y="79945"/>
                  <a:pt x="806373" y="82515"/>
                </a:cubicBezTo>
                <a:cubicBezTo>
                  <a:pt x="812725" y="86797"/>
                  <a:pt x="816865" y="94078"/>
                  <a:pt x="816865" y="102287"/>
                </a:cubicBezTo>
                <a:cubicBezTo>
                  <a:pt x="816865" y="110495"/>
                  <a:pt x="812654" y="117776"/>
                  <a:pt x="806373" y="122059"/>
                </a:cubicBezTo>
                <a:cubicBezTo>
                  <a:pt x="802518" y="124629"/>
                  <a:pt x="797950" y="126128"/>
                  <a:pt x="793025" y="126128"/>
                </a:cubicBezTo>
                <a:cubicBezTo>
                  <a:pt x="791383" y="126128"/>
                  <a:pt x="789813" y="125913"/>
                  <a:pt x="788242" y="125628"/>
                </a:cubicBezTo>
                <a:cubicBezTo>
                  <a:pt x="777321" y="123415"/>
                  <a:pt x="769184" y="113779"/>
                  <a:pt x="769184" y="102287"/>
                </a:cubicBezTo>
                <a:cubicBezTo>
                  <a:pt x="769184" y="90795"/>
                  <a:pt x="777393" y="81158"/>
                  <a:pt x="788242" y="78946"/>
                </a:cubicBezTo>
                <a:cubicBezTo>
                  <a:pt x="789741" y="78589"/>
                  <a:pt x="791383" y="78446"/>
                  <a:pt x="793025" y="78446"/>
                </a:cubicBezTo>
                <a:close/>
                <a:moveTo>
                  <a:pt x="871470" y="75876"/>
                </a:moveTo>
                <a:cubicBezTo>
                  <a:pt x="886032" y="75876"/>
                  <a:pt x="897881" y="87725"/>
                  <a:pt x="897881" y="102286"/>
                </a:cubicBezTo>
                <a:cubicBezTo>
                  <a:pt x="897881" y="116848"/>
                  <a:pt x="886032" y="128697"/>
                  <a:pt x="871470" y="128697"/>
                </a:cubicBezTo>
                <a:cubicBezTo>
                  <a:pt x="856909" y="128697"/>
                  <a:pt x="845060" y="116848"/>
                  <a:pt x="845060" y="102286"/>
                </a:cubicBezTo>
                <a:cubicBezTo>
                  <a:pt x="845060" y="87725"/>
                  <a:pt x="856909" y="75876"/>
                  <a:pt x="871470" y="75876"/>
                </a:cubicBezTo>
                <a:close/>
                <a:moveTo>
                  <a:pt x="47753" y="54034"/>
                </a:moveTo>
                <a:cubicBezTo>
                  <a:pt x="52749" y="54034"/>
                  <a:pt x="56747" y="58031"/>
                  <a:pt x="56747" y="63028"/>
                </a:cubicBezTo>
                <a:cubicBezTo>
                  <a:pt x="56747" y="68024"/>
                  <a:pt x="52749" y="72022"/>
                  <a:pt x="47753" y="72022"/>
                </a:cubicBezTo>
                <a:cubicBezTo>
                  <a:pt x="42756" y="72022"/>
                  <a:pt x="38759" y="68024"/>
                  <a:pt x="38759" y="63028"/>
                </a:cubicBezTo>
                <a:cubicBezTo>
                  <a:pt x="38759" y="58031"/>
                  <a:pt x="42756" y="54034"/>
                  <a:pt x="47753" y="54034"/>
                </a:cubicBezTo>
                <a:close/>
                <a:moveTo>
                  <a:pt x="126198" y="53035"/>
                </a:moveTo>
                <a:cubicBezTo>
                  <a:pt x="131694" y="53035"/>
                  <a:pt x="136191" y="57532"/>
                  <a:pt x="136191" y="63028"/>
                </a:cubicBezTo>
                <a:cubicBezTo>
                  <a:pt x="136191" y="68524"/>
                  <a:pt x="131694" y="73021"/>
                  <a:pt x="126198" y="73021"/>
                </a:cubicBezTo>
                <a:cubicBezTo>
                  <a:pt x="120631" y="73021"/>
                  <a:pt x="116205" y="68524"/>
                  <a:pt x="116205" y="63028"/>
                </a:cubicBezTo>
                <a:cubicBezTo>
                  <a:pt x="116205" y="57461"/>
                  <a:pt x="120702" y="53035"/>
                  <a:pt x="126198" y="53035"/>
                </a:cubicBezTo>
                <a:close/>
                <a:moveTo>
                  <a:pt x="283162" y="50822"/>
                </a:moveTo>
                <a:cubicBezTo>
                  <a:pt x="289872" y="50822"/>
                  <a:pt x="295368" y="56247"/>
                  <a:pt x="295368" y="63028"/>
                </a:cubicBezTo>
                <a:cubicBezTo>
                  <a:pt x="295368" y="69809"/>
                  <a:pt x="289872" y="75305"/>
                  <a:pt x="283162" y="75234"/>
                </a:cubicBezTo>
                <a:cubicBezTo>
                  <a:pt x="276452" y="75234"/>
                  <a:pt x="270956" y="69809"/>
                  <a:pt x="270956" y="63028"/>
                </a:cubicBezTo>
                <a:cubicBezTo>
                  <a:pt x="270956" y="56318"/>
                  <a:pt x="276381" y="50822"/>
                  <a:pt x="283162" y="50822"/>
                </a:cubicBezTo>
                <a:close/>
                <a:moveTo>
                  <a:pt x="361536" y="49466"/>
                </a:moveTo>
                <a:cubicBezTo>
                  <a:pt x="369031" y="49466"/>
                  <a:pt x="375098" y="55533"/>
                  <a:pt x="375098" y="63028"/>
                </a:cubicBezTo>
                <a:cubicBezTo>
                  <a:pt x="375098" y="70523"/>
                  <a:pt x="369031" y="76590"/>
                  <a:pt x="361536" y="76590"/>
                </a:cubicBezTo>
                <a:cubicBezTo>
                  <a:pt x="354041" y="76590"/>
                  <a:pt x="347974" y="70523"/>
                  <a:pt x="347974" y="63028"/>
                </a:cubicBezTo>
                <a:cubicBezTo>
                  <a:pt x="347974" y="55533"/>
                  <a:pt x="354041" y="49466"/>
                  <a:pt x="361536" y="49466"/>
                </a:cubicBezTo>
                <a:close/>
                <a:moveTo>
                  <a:pt x="518428" y="46396"/>
                </a:moveTo>
                <a:cubicBezTo>
                  <a:pt x="527636" y="46396"/>
                  <a:pt x="535060" y="53819"/>
                  <a:pt x="535060" y="63027"/>
                </a:cubicBezTo>
                <a:cubicBezTo>
                  <a:pt x="535060" y="72235"/>
                  <a:pt x="527636" y="79730"/>
                  <a:pt x="518428" y="79659"/>
                </a:cubicBezTo>
                <a:cubicBezTo>
                  <a:pt x="509220" y="79659"/>
                  <a:pt x="501797" y="72235"/>
                  <a:pt x="501797" y="63027"/>
                </a:cubicBezTo>
                <a:cubicBezTo>
                  <a:pt x="501797" y="53819"/>
                  <a:pt x="509220" y="46396"/>
                  <a:pt x="518428" y="46396"/>
                </a:cubicBezTo>
                <a:close/>
                <a:moveTo>
                  <a:pt x="596946" y="44612"/>
                </a:moveTo>
                <a:cubicBezTo>
                  <a:pt x="607082" y="44612"/>
                  <a:pt x="615362" y="52821"/>
                  <a:pt x="615362" y="63028"/>
                </a:cubicBezTo>
                <a:cubicBezTo>
                  <a:pt x="615362" y="73235"/>
                  <a:pt x="607082" y="81515"/>
                  <a:pt x="596946" y="81444"/>
                </a:cubicBezTo>
                <a:cubicBezTo>
                  <a:pt x="586810" y="81444"/>
                  <a:pt x="578530" y="73235"/>
                  <a:pt x="578530" y="63028"/>
                </a:cubicBezTo>
                <a:cubicBezTo>
                  <a:pt x="578530" y="52892"/>
                  <a:pt x="586739" y="44612"/>
                  <a:pt x="596946" y="44612"/>
                </a:cubicBezTo>
                <a:close/>
                <a:moveTo>
                  <a:pt x="753766" y="40400"/>
                </a:moveTo>
                <a:cubicBezTo>
                  <a:pt x="766258" y="40400"/>
                  <a:pt x="776394" y="50536"/>
                  <a:pt x="776394" y="63027"/>
                </a:cubicBezTo>
                <a:cubicBezTo>
                  <a:pt x="776394" y="75519"/>
                  <a:pt x="766258" y="85726"/>
                  <a:pt x="753766" y="85655"/>
                </a:cubicBezTo>
                <a:cubicBezTo>
                  <a:pt x="741275" y="85655"/>
                  <a:pt x="731139" y="75519"/>
                  <a:pt x="731139" y="63027"/>
                </a:cubicBezTo>
                <a:cubicBezTo>
                  <a:pt x="731139" y="50536"/>
                  <a:pt x="741275" y="40400"/>
                  <a:pt x="753766" y="40400"/>
                </a:cubicBezTo>
                <a:close/>
                <a:moveTo>
                  <a:pt x="832283" y="37973"/>
                </a:moveTo>
                <a:cubicBezTo>
                  <a:pt x="846131" y="37973"/>
                  <a:pt x="857337" y="49180"/>
                  <a:pt x="857337" y="63027"/>
                </a:cubicBezTo>
                <a:cubicBezTo>
                  <a:pt x="857337" y="76875"/>
                  <a:pt x="846059" y="88153"/>
                  <a:pt x="832283" y="88153"/>
                </a:cubicBezTo>
                <a:cubicBezTo>
                  <a:pt x="818436" y="88153"/>
                  <a:pt x="807229" y="76875"/>
                  <a:pt x="807229" y="63027"/>
                </a:cubicBezTo>
                <a:cubicBezTo>
                  <a:pt x="807229" y="49180"/>
                  <a:pt x="818436" y="37973"/>
                  <a:pt x="832283" y="37973"/>
                </a:cubicBezTo>
                <a:close/>
                <a:moveTo>
                  <a:pt x="8566" y="15275"/>
                </a:moveTo>
                <a:cubicBezTo>
                  <a:pt x="11492" y="15275"/>
                  <a:pt x="14062" y="16774"/>
                  <a:pt x="15632" y="19058"/>
                </a:cubicBezTo>
                <a:cubicBezTo>
                  <a:pt x="16489" y="20414"/>
                  <a:pt x="17060" y="22056"/>
                  <a:pt x="17060" y="23841"/>
                </a:cubicBezTo>
                <a:cubicBezTo>
                  <a:pt x="17060" y="24412"/>
                  <a:pt x="17060" y="24983"/>
                  <a:pt x="16917" y="25554"/>
                </a:cubicBezTo>
                <a:cubicBezTo>
                  <a:pt x="16703" y="26696"/>
                  <a:pt x="16275" y="27695"/>
                  <a:pt x="15632" y="28623"/>
                </a:cubicBezTo>
                <a:cubicBezTo>
                  <a:pt x="14062" y="30907"/>
                  <a:pt x="11492" y="32406"/>
                  <a:pt x="8566" y="32406"/>
                </a:cubicBezTo>
                <a:cubicBezTo>
                  <a:pt x="7923" y="32406"/>
                  <a:pt x="7352" y="32335"/>
                  <a:pt x="6852" y="32192"/>
                </a:cubicBezTo>
                <a:cubicBezTo>
                  <a:pt x="5139" y="31835"/>
                  <a:pt x="3640" y="30979"/>
                  <a:pt x="2498" y="29836"/>
                </a:cubicBezTo>
                <a:cubicBezTo>
                  <a:pt x="2141" y="29480"/>
                  <a:pt x="1784" y="29051"/>
                  <a:pt x="1428" y="28623"/>
                </a:cubicBezTo>
                <a:cubicBezTo>
                  <a:pt x="785" y="27695"/>
                  <a:pt x="357" y="26696"/>
                  <a:pt x="143" y="25554"/>
                </a:cubicBezTo>
                <a:cubicBezTo>
                  <a:pt x="71" y="24983"/>
                  <a:pt x="0" y="24412"/>
                  <a:pt x="0" y="23841"/>
                </a:cubicBezTo>
                <a:cubicBezTo>
                  <a:pt x="0" y="23270"/>
                  <a:pt x="71" y="22627"/>
                  <a:pt x="143" y="22127"/>
                </a:cubicBezTo>
                <a:cubicBezTo>
                  <a:pt x="428" y="20985"/>
                  <a:pt x="857" y="19986"/>
                  <a:pt x="1428" y="19058"/>
                </a:cubicBezTo>
                <a:cubicBezTo>
                  <a:pt x="1784" y="18630"/>
                  <a:pt x="2141" y="18202"/>
                  <a:pt x="2498" y="17773"/>
                </a:cubicBezTo>
                <a:cubicBezTo>
                  <a:pt x="3640" y="16631"/>
                  <a:pt x="5139" y="15775"/>
                  <a:pt x="6852" y="15418"/>
                </a:cubicBezTo>
                <a:cubicBezTo>
                  <a:pt x="7423" y="15346"/>
                  <a:pt x="7994" y="15275"/>
                  <a:pt x="8566" y="15275"/>
                </a:cubicBezTo>
                <a:close/>
                <a:moveTo>
                  <a:pt x="87011" y="14347"/>
                </a:moveTo>
                <a:cubicBezTo>
                  <a:pt x="92294" y="14347"/>
                  <a:pt x="96505" y="18630"/>
                  <a:pt x="96505" y="23840"/>
                </a:cubicBezTo>
                <a:cubicBezTo>
                  <a:pt x="96505" y="24483"/>
                  <a:pt x="96434" y="25125"/>
                  <a:pt x="96291" y="25768"/>
                </a:cubicBezTo>
                <a:cubicBezTo>
                  <a:pt x="95363" y="30051"/>
                  <a:pt x="91580" y="33263"/>
                  <a:pt x="87011" y="33334"/>
                </a:cubicBezTo>
                <a:cubicBezTo>
                  <a:pt x="82443" y="33334"/>
                  <a:pt x="78589" y="30051"/>
                  <a:pt x="77732" y="25768"/>
                </a:cubicBezTo>
                <a:cubicBezTo>
                  <a:pt x="77589" y="25125"/>
                  <a:pt x="77518" y="24483"/>
                  <a:pt x="77518" y="23840"/>
                </a:cubicBezTo>
                <a:cubicBezTo>
                  <a:pt x="77518" y="18558"/>
                  <a:pt x="81801" y="14347"/>
                  <a:pt x="87011" y="14347"/>
                </a:cubicBezTo>
                <a:close/>
                <a:moveTo>
                  <a:pt x="243832" y="12205"/>
                </a:moveTo>
                <a:cubicBezTo>
                  <a:pt x="250256" y="12205"/>
                  <a:pt x="255467" y="17416"/>
                  <a:pt x="255467" y="23840"/>
                </a:cubicBezTo>
                <a:cubicBezTo>
                  <a:pt x="255467" y="24625"/>
                  <a:pt x="255395" y="25410"/>
                  <a:pt x="255253" y="26195"/>
                </a:cubicBezTo>
                <a:cubicBezTo>
                  <a:pt x="254182" y="31477"/>
                  <a:pt x="249471" y="35475"/>
                  <a:pt x="243832" y="35475"/>
                </a:cubicBezTo>
                <a:cubicBezTo>
                  <a:pt x="238193" y="35475"/>
                  <a:pt x="233482" y="31477"/>
                  <a:pt x="232411" y="26195"/>
                </a:cubicBezTo>
                <a:cubicBezTo>
                  <a:pt x="232268" y="25410"/>
                  <a:pt x="232197" y="24625"/>
                  <a:pt x="232197" y="23840"/>
                </a:cubicBezTo>
                <a:cubicBezTo>
                  <a:pt x="232197" y="17416"/>
                  <a:pt x="237408" y="12205"/>
                  <a:pt x="243832" y="12205"/>
                </a:cubicBezTo>
                <a:close/>
                <a:moveTo>
                  <a:pt x="322349" y="10921"/>
                </a:moveTo>
                <a:cubicBezTo>
                  <a:pt x="324990" y="10921"/>
                  <a:pt x="327489" y="11778"/>
                  <a:pt x="329559" y="13134"/>
                </a:cubicBezTo>
                <a:cubicBezTo>
                  <a:pt x="332913" y="15489"/>
                  <a:pt x="335198" y="19415"/>
                  <a:pt x="335198" y="23841"/>
                </a:cubicBezTo>
                <a:cubicBezTo>
                  <a:pt x="335198" y="24697"/>
                  <a:pt x="335055" y="25554"/>
                  <a:pt x="334912" y="26410"/>
                </a:cubicBezTo>
                <a:cubicBezTo>
                  <a:pt x="334270" y="29765"/>
                  <a:pt x="332271" y="32620"/>
                  <a:pt x="329559" y="34476"/>
                </a:cubicBezTo>
                <a:cubicBezTo>
                  <a:pt x="327489" y="35904"/>
                  <a:pt x="324990" y="36689"/>
                  <a:pt x="322349" y="36689"/>
                </a:cubicBezTo>
                <a:cubicBezTo>
                  <a:pt x="321493" y="36689"/>
                  <a:pt x="320636" y="36546"/>
                  <a:pt x="319780" y="36404"/>
                </a:cubicBezTo>
                <a:cubicBezTo>
                  <a:pt x="314783" y="35404"/>
                  <a:pt x="310786" y="31407"/>
                  <a:pt x="309787" y="26410"/>
                </a:cubicBezTo>
                <a:cubicBezTo>
                  <a:pt x="309572" y="25625"/>
                  <a:pt x="309501" y="24697"/>
                  <a:pt x="309501" y="23841"/>
                </a:cubicBezTo>
                <a:cubicBezTo>
                  <a:pt x="309501" y="17631"/>
                  <a:pt x="313927" y="12420"/>
                  <a:pt x="319780" y="11207"/>
                </a:cubicBezTo>
                <a:cubicBezTo>
                  <a:pt x="320565" y="10992"/>
                  <a:pt x="321493" y="10921"/>
                  <a:pt x="322349" y="10921"/>
                </a:cubicBezTo>
                <a:close/>
                <a:moveTo>
                  <a:pt x="479098" y="7994"/>
                </a:moveTo>
                <a:cubicBezTo>
                  <a:pt x="484594" y="7994"/>
                  <a:pt x="489376" y="10778"/>
                  <a:pt x="492232" y="14989"/>
                </a:cubicBezTo>
                <a:cubicBezTo>
                  <a:pt x="493945" y="17559"/>
                  <a:pt x="494944" y="20557"/>
                  <a:pt x="494944" y="23840"/>
                </a:cubicBezTo>
                <a:cubicBezTo>
                  <a:pt x="494944" y="24982"/>
                  <a:pt x="494873" y="26053"/>
                  <a:pt x="494659" y="27052"/>
                </a:cubicBezTo>
                <a:cubicBezTo>
                  <a:pt x="494230" y="29122"/>
                  <a:pt x="493445" y="30978"/>
                  <a:pt x="492303" y="32691"/>
                </a:cubicBezTo>
                <a:cubicBezTo>
                  <a:pt x="489519" y="36903"/>
                  <a:pt x="484665" y="39615"/>
                  <a:pt x="479098" y="39615"/>
                </a:cubicBezTo>
                <a:cubicBezTo>
                  <a:pt x="477956" y="39615"/>
                  <a:pt x="476885" y="39472"/>
                  <a:pt x="475886" y="39258"/>
                </a:cubicBezTo>
                <a:cubicBezTo>
                  <a:pt x="472816" y="38687"/>
                  <a:pt x="470033" y="37117"/>
                  <a:pt x="467891" y="34975"/>
                </a:cubicBezTo>
                <a:cubicBezTo>
                  <a:pt x="467177" y="34262"/>
                  <a:pt x="466535" y="33477"/>
                  <a:pt x="465964" y="32620"/>
                </a:cubicBezTo>
                <a:cubicBezTo>
                  <a:pt x="464822" y="30978"/>
                  <a:pt x="464037" y="29051"/>
                  <a:pt x="463608" y="26981"/>
                </a:cubicBezTo>
                <a:cubicBezTo>
                  <a:pt x="463466" y="25910"/>
                  <a:pt x="463323" y="24911"/>
                  <a:pt x="463323" y="23769"/>
                </a:cubicBezTo>
                <a:cubicBezTo>
                  <a:pt x="463323" y="22627"/>
                  <a:pt x="463394" y="21556"/>
                  <a:pt x="463608" y="20557"/>
                </a:cubicBezTo>
                <a:cubicBezTo>
                  <a:pt x="464037" y="18487"/>
                  <a:pt x="464822" y="16631"/>
                  <a:pt x="465964" y="14918"/>
                </a:cubicBezTo>
                <a:cubicBezTo>
                  <a:pt x="466535" y="14061"/>
                  <a:pt x="467177" y="13276"/>
                  <a:pt x="467891" y="12562"/>
                </a:cubicBezTo>
                <a:cubicBezTo>
                  <a:pt x="470033" y="10421"/>
                  <a:pt x="472816" y="8922"/>
                  <a:pt x="475886" y="8280"/>
                </a:cubicBezTo>
                <a:cubicBezTo>
                  <a:pt x="476956" y="8137"/>
                  <a:pt x="478027" y="7994"/>
                  <a:pt x="479098" y="7994"/>
                </a:cubicBezTo>
                <a:close/>
                <a:moveTo>
                  <a:pt x="557687" y="6352"/>
                </a:moveTo>
                <a:cubicBezTo>
                  <a:pt x="567323" y="6352"/>
                  <a:pt x="575175" y="14204"/>
                  <a:pt x="575175" y="23840"/>
                </a:cubicBezTo>
                <a:cubicBezTo>
                  <a:pt x="575175" y="24982"/>
                  <a:pt x="575032" y="26196"/>
                  <a:pt x="574818" y="27338"/>
                </a:cubicBezTo>
                <a:cubicBezTo>
                  <a:pt x="573176" y="35332"/>
                  <a:pt x="566110" y="41328"/>
                  <a:pt x="557687" y="41328"/>
                </a:cubicBezTo>
                <a:cubicBezTo>
                  <a:pt x="549264" y="41328"/>
                  <a:pt x="542198" y="35332"/>
                  <a:pt x="540556" y="27338"/>
                </a:cubicBezTo>
                <a:cubicBezTo>
                  <a:pt x="540342" y="26196"/>
                  <a:pt x="540199" y="25053"/>
                  <a:pt x="540199" y="23840"/>
                </a:cubicBezTo>
                <a:cubicBezTo>
                  <a:pt x="540199" y="14204"/>
                  <a:pt x="548051" y="6352"/>
                  <a:pt x="557687" y="6352"/>
                </a:cubicBezTo>
                <a:close/>
                <a:moveTo>
                  <a:pt x="714579" y="2284"/>
                </a:moveTo>
                <a:cubicBezTo>
                  <a:pt x="726428" y="2284"/>
                  <a:pt x="736064" y="11920"/>
                  <a:pt x="736064" y="23769"/>
                </a:cubicBezTo>
                <a:cubicBezTo>
                  <a:pt x="736064" y="25268"/>
                  <a:pt x="735922" y="26696"/>
                  <a:pt x="735636" y="28123"/>
                </a:cubicBezTo>
                <a:cubicBezTo>
                  <a:pt x="733638" y="37974"/>
                  <a:pt x="724929" y="45326"/>
                  <a:pt x="714579" y="45326"/>
                </a:cubicBezTo>
                <a:cubicBezTo>
                  <a:pt x="704229" y="45326"/>
                  <a:pt x="695521" y="37902"/>
                  <a:pt x="693522" y="28123"/>
                </a:cubicBezTo>
                <a:cubicBezTo>
                  <a:pt x="693237" y="26696"/>
                  <a:pt x="693094" y="25268"/>
                  <a:pt x="693094" y="23769"/>
                </a:cubicBezTo>
                <a:cubicBezTo>
                  <a:pt x="693094" y="11920"/>
                  <a:pt x="702730" y="2284"/>
                  <a:pt x="714579" y="2284"/>
                </a:cubicBezTo>
                <a:close/>
                <a:moveTo>
                  <a:pt x="793025" y="0"/>
                </a:moveTo>
                <a:cubicBezTo>
                  <a:pt x="797950" y="0"/>
                  <a:pt x="802518" y="1499"/>
                  <a:pt x="806373" y="4069"/>
                </a:cubicBezTo>
                <a:cubicBezTo>
                  <a:pt x="812725" y="8351"/>
                  <a:pt x="816865" y="15632"/>
                  <a:pt x="816865" y="23841"/>
                </a:cubicBezTo>
                <a:cubicBezTo>
                  <a:pt x="816865" y="25483"/>
                  <a:pt x="816651" y="27053"/>
                  <a:pt x="816366" y="28623"/>
                </a:cubicBezTo>
                <a:cubicBezTo>
                  <a:pt x="815081" y="34833"/>
                  <a:pt x="811369" y="40187"/>
                  <a:pt x="806373" y="43613"/>
                </a:cubicBezTo>
                <a:cubicBezTo>
                  <a:pt x="802518" y="46183"/>
                  <a:pt x="797950" y="47682"/>
                  <a:pt x="793025" y="47682"/>
                </a:cubicBezTo>
                <a:cubicBezTo>
                  <a:pt x="791383" y="47682"/>
                  <a:pt x="789813" y="47467"/>
                  <a:pt x="788242" y="47182"/>
                </a:cubicBezTo>
                <a:cubicBezTo>
                  <a:pt x="778892" y="45255"/>
                  <a:pt x="771611" y="37903"/>
                  <a:pt x="769684" y="28623"/>
                </a:cubicBezTo>
                <a:cubicBezTo>
                  <a:pt x="769327" y="27124"/>
                  <a:pt x="769184" y="25483"/>
                  <a:pt x="769184" y="23841"/>
                </a:cubicBezTo>
                <a:cubicBezTo>
                  <a:pt x="769184" y="12349"/>
                  <a:pt x="777393" y="2712"/>
                  <a:pt x="788242" y="500"/>
                </a:cubicBezTo>
                <a:cubicBezTo>
                  <a:pt x="789741" y="143"/>
                  <a:pt x="791383" y="0"/>
                  <a:pt x="793025" y="0"/>
                </a:cubicBezTo>
                <a:close/>
              </a:path>
            </a:pathLst>
          </a:custGeom>
          <a:gradFill>
            <a:gsLst>
              <a:gs pos="34000">
                <a:srgbClr val="9E4393"/>
              </a:gs>
              <a:gs pos="100000">
                <a:srgbClr val="9E4393"/>
              </a:gs>
            </a:gsLst>
            <a:lin ang="10800000" scaled="0"/>
          </a:gradFill>
          <a:ln w="709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dirty="0">
              <a:ln>
                <a:noFill/>
              </a:ln>
              <a:solidFill>
                <a:prstClr val="black"/>
              </a:solidFill>
              <a:effectLst/>
              <a:uLnTx/>
              <a:uFillTx/>
              <a:latin typeface="Arial" panose="020B0604020202020204"/>
              <a:ea typeface="微软雅黑" panose="020B0503020204020204" charset="-122"/>
              <a:cs typeface="+mn-ea"/>
              <a:sym typeface="+mn-lt"/>
            </a:endParaRPr>
          </a:p>
        </p:txBody>
      </p:sp>
      <p:sp>
        <p:nvSpPr>
          <p:cNvPr id="1048613" name="任意多边形: 形状 11"/>
          <p:cNvSpPr/>
          <p:nvPr/>
        </p:nvSpPr>
        <p:spPr>
          <a:xfrm flipH="1">
            <a:off x="4965468" y="2065588"/>
            <a:ext cx="448262" cy="166201"/>
          </a:xfrm>
          <a:custGeom>
            <a:avLst/>
            <a:gdLst>
              <a:gd name="connsiteX0" fmla="*/ 8566 w 977755"/>
              <a:gd name="connsiteY0" fmla="*/ 329059 h 361466"/>
              <a:gd name="connsiteX1" fmla="*/ 15632 w 977755"/>
              <a:gd name="connsiteY1" fmla="*/ 332842 h 361466"/>
              <a:gd name="connsiteX2" fmla="*/ 17060 w 977755"/>
              <a:gd name="connsiteY2" fmla="*/ 337625 h 361466"/>
              <a:gd name="connsiteX3" fmla="*/ 16417 w 977755"/>
              <a:gd name="connsiteY3" fmla="*/ 340979 h 361466"/>
              <a:gd name="connsiteX4" fmla="*/ 15632 w 977755"/>
              <a:gd name="connsiteY4" fmla="*/ 342407 h 361466"/>
              <a:gd name="connsiteX5" fmla="*/ 14633 w 977755"/>
              <a:gd name="connsiteY5" fmla="*/ 343620 h 361466"/>
              <a:gd name="connsiteX6" fmla="*/ 8566 w 977755"/>
              <a:gd name="connsiteY6" fmla="*/ 346119 h 361466"/>
              <a:gd name="connsiteX7" fmla="*/ 6852 w 977755"/>
              <a:gd name="connsiteY7" fmla="*/ 345976 h 361466"/>
              <a:gd name="connsiteX8" fmla="*/ 2498 w 977755"/>
              <a:gd name="connsiteY8" fmla="*/ 343620 h 361466"/>
              <a:gd name="connsiteX9" fmla="*/ 1428 w 977755"/>
              <a:gd name="connsiteY9" fmla="*/ 342336 h 361466"/>
              <a:gd name="connsiteX10" fmla="*/ 642 w 977755"/>
              <a:gd name="connsiteY10" fmla="*/ 340908 h 361466"/>
              <a:gd name="connsiteX11" fmla="*/ 143 w 977755"/>
              <a:gd name="connsiteY11" fmla="*/ 339338 h 361466"/>
              <a:gd name="connsiteX12" fmla="*/ 0 w 977755"/>
              <a:gd name="connsiteY12" fmla="*/ 337625 h 361466"/>
              <a:gd name="connsiteX13" fmla="*/ 143 w 977755"/>
              <a:gd name="connsiteY13" fmla="*/ 335911 h 361466"/>
              <a:gd name="connsiteX14" fmla="*/ 1428 w 977755"/>
              <a:gd name="connsiteY14" fmla="*/ 332842 h 361466"/>
              <a:gd name="connsiteX15" fmla="*/ 2498 w 977755"/>
              <a:gd name="connsiteY15" fmla="*/ 331557 h 361466"/>
              <a:gd name="connsiteX16" fmla="*/ 6852 w 977755"/>
              <a:gd name="connsiteY16" fmla="*/ 329202 h 361466"/>
              <a:gd name="connsiteX17" fmla="*/ 8566 w 977755"/>
              <a:gd name="connsiteY17" fmla="*/ 329059 h 361466"/>
              <a:gd name="connsiteX18" fmla="*/ 86939 w 977755"/>
              <a:gd name="connsiteY18" fmla="*/ 328060 h 361466"/>
              <a:gd name="connsiteX19" fmla="*/ 96433 w 977755"/>
              <a:gd name="connsiteY19" fmla="*/ 337554 h 361466"/>
              <a:gd name="connsiteX20" fmla="*/ 95719 w 977755"/>
              <a:gd name="connsiteY20" fmla="*/ 341265 h 361466"/>
              <a:gd name="connsiteX21" fmla="*/ 93578 w 977755"/>
              <a:gd name="connsiteY21" fmla="*/ 344263 h 361466"/>
              <a:gd name="connsiteX22" fmla="*/ 86868 w 977755"/>
              <a:gd name="connsiteY22" fmla="*/ 347047 h 361466"/>
              <a:gd name="connsiteX23" fmla="*/ 80158 w 977755"/>
              <a:gd name="connsiteY23" fmla="*/ 344263 h 361466"/>
              <a:gd name="connsiteX24" fmla="*/ 78160 w 977755"/>
              <a:gd name="connsiteY24" fmla="*/ 341265 h 361466"/>
              <a:gd name="connsiteX25" fmla="*/ 77446 w 977755"/>
              <a:gd name="connsiteY25" fmla="*/ 337554 h 361466"/>
              <a:gd name="connsiteX26" fmla="*/ 86939 w 977755"/>
              <a:gd name="connsiteY26" fmla="*/ 328060 h 361466"/>
              <a:gd name="connsiteX27" fmla="*/ 243903 w 977755"/>
              <a:gd name="connsiteY27" fmla="*/ 325990 h 361466"/>
              <a:gd name="connsiteX28" fmla="*/ 255538 w 977755"/>
              <a:gd name="connsiteY28" fmla="*/ 337625 h 361466"/>
              <a:gd name="connsiteX29" fmla="*/ 254610 w 977755"/>
              <a:gd name="connsiteY29" fmla="*/ 342122 h 361466"/>
              <a:gd name="connsiteX30" fmla="*/ 252111 w 977755"/>
              <a:gd name="connsiteY30" fmla="*/ 345834 h 361466"/>
              <a:gd name="connsiteX31" fmla="*/ 243903 w 977755"/>
              <a:gd name="connsiteY31" fmla="*/ 349260 h 361466"/>
              <a:gd name="connsiteX32" fmla="*/ 235694 w 977755"/>
              <a:gd name="connsiteY32" fmla="*/ 345834 h 361466"/>
              <a:gd name="connsiteX33" fmla="*/ 233196 w 977755"/>
              <a:gd name="connsiteY33" fmla="*/ 342122 h 361466"/>
              <a:gd name="connsiteX34" fmla="*/ 232268 w 977755"/>
              <a:gd name="connsiteY34" fmla="*/ 337625 h 361466"/>
              <a:gd name="connsiteX35" fmla="*/ 243903 w 977755"/>
              <a:gd name="connsiteY35" fmla="*/ 325990 h 361466"/>
              <a:gd name="connsiteX36" fmla="*/ 322349 w 977755"/>
              <a:gd name="connsiteY36" fmla="*/ 324705 h 361466"/>
              <a:gd name="connsiteX37" fmla="*/ 329559 w 977755"/>
              <a:gd name="connsiteY37" fmla="*/ 326918 h 361466"/>
              <a:gd name="connsiteX38" fmla="*/ 335198 w 977755"/>
              <a:gd name="connsiteY38" fmla="*/ 337625 h 361466"/>
              <a:gd name="connsiteX39" fmla="*/ 334198 w 977755"/>
              <a:gd name="connsiteY39" fmla="*/ 342621 h 361466"/>
              <a:gd name="connsiteX40" fmla="*/ 331414 w 977755"/>
              <a:gd name="connsiteY40" fmla="*/ 346690 h 361466"/>
              <a:gd name="connsiteX41" fmla="*/ 329559 w 977755"/>
              <a:gd name="connsiteY41" fmla="*/ 348260 h 361466"/>
              <a:gd name="connsiteX42" fmla="*/ 322349 w 977755"/>
              <a:gd name="connsiteY42" fmla="*/ 350473 h 361466"/>
              <a:gd name="connsiteX43" fmla="*/ 319780 w 977755"/>
              <a:gd name="connsiteY43" fmla="*/ 350188 h 361466"/>
              <a:gd name="connsiteX44" fmla="*/ 313284 w 977755"/>
              <a:gd name="connsiteY44" fmla="*/ 346690 h 361466"/>
              <a:gd name="connsiteX45" fmla="*/ 310500 w 977755"/>
              <a:gd name="connsiteY45" fmla="*/ 342621 h 361466"/>
              <a:gd name="connsiteX46" fmla="*/ 309501 w 977755"/>
              <a:gd name="connsiteY46" fmla="*/ 337625 h 361466"/>
              <a:gd name="connsiteX47" fmla="*/ 319780 w 977755"/>
              <a:gd name="connsiteY47" fmla="*/ 324990 h 361466"/>
              <a:gd name="connsiteX48" fmla="*/ 322349 w 977755"/>
              <a:gd name="connsiteY48" fmla="*/ 324705 h 361466"/>
              <a:gd name="connsiteX49" fmla="*/ 479098 w 977755"/>
              <a:gd name="connsiteY49" fmla="*/ 321707 h 361466"/>
              <a:gd name="connsiteX50" fmla="*/ 492232 w 977755"/>
              <a:gd name="connsiteY50" fmla="*/ 328702 h 361466"/>
              <a:gd name="connsiteX51" fmla="*/ 494944 w 977755"/>
              <a:gd name="connsiteY51" fmla="*/ 337553 h 361466"/>
              <a:gd name="connsiteX52" fmla="*/ 493731 w 977755"/>
              <a:gd name="connsiteY52" fmla="*/ 343692 h 361466"/>
              <a:gd name="connsiteX53" fmla="*/ 492303 w 977755"/>
              <a:gd name="connsiteY53" fmla="*/ 346404 h 361466"/>
              <a:gd name="connsiteX54" fmla="*/ 490304 w 977755"/>
              <a:gd name="connsiteY54" fmla="*/ 348760 h 361466"/>
              <a:gd name="connsiteX55" fmla="*/ 479098 w 977755"/>
              <a:gd name="connsiteY55" fmla="*/ 353400 h 361466"/>
              <a:gd name="connsiteX56" fmla="*/ 475886 w 977755"/>
              <a:gd name="connsiteY56" fmla="*/ 353043 h 361466"/>
              <a:gd name="connsiteX57" fmla="*/ 467891 w 977755"/>
              <a:gd name="connsiteY57" fmla="*/ 348760 h 361466"/>
              <a:gd name="connsiteX58" fmla="*/ 465964 w 977755"/>
              <a:gd name="connsiteY58" fmla="*/ 346404 h 361466"/>
              <a:gd name="connsiteX59" fmla="*/ 464536 w 977755"/>
              <a:gd name="connsiteY59" fmla="*/ 343692 h 361466"/>
              <a:gd name="connsiteX60" fmla="*/ 463608 w 977755"/>
              <a:gd name="connsiteY60" fmla="*/ 340694 h 361466"/>
              <a:gd name="connsiteX61" fmla="*/ 463323 w 977755"/>
              <a:gd name="connsiteY61" fmla="*/ 337482 h 361466"/>
              <a:gd name="connsiteX62" fmla="*/ 463608 w 977755"/>
              <a:gd name="connsiteY62" fmla="*/ 334270 h 361466"/>
              <a:gd name="connsiteX63" fmla="*/ 465964 w 977755"/>
              <a:gd name="connsiteY63" fmla="*/ 328631 h 361466"/>
              <a:gd name="connsiteX64" fmla="*/ 467891 w 977755"/>
              <a:gd name="connsiteY64" fmla="*/ 326275 h 361466"/>
              <a:gd name="connsiteX65" fmla="*/ 475886 w 977755"/>
              <a:gd name="connsiteY65" fmla="*/ 321993 h 361466"/>
              <a:gd name="connsiteX66" fmla="*/ 479098 w 977755"/>
              <a:gd name="connsiteY66" fmla="*/ 321707 h 361466"/>
              <a:gd name="connsiteX67" fmla="*/ 557687 w 977755"/>
              <a:gd name="connsiteY67" fmla="*/ 320066 h 361466"/>
              <a:gd name="connsiteX68" fmla="*/ 575175 w 977755"/>
              <a:gd name="connsiteY68" fmla="*/ 337554 h 361466"/>
              <a:gd name="connsiteX69" fmla="*/ 573819 w 977755"/>
              <a:gd name="connsiteY69" fmla="*/ 344406 h 361466"/>
              <a:gd name="connsiteX70" fmla="*/ 570178 w 977755"/>
              <a:gd name="connsiteY70" fmla="*/ 349974 h 361466"/>
              <a:gd name="connsiteX71" fmla="*/ 557758 w 977755"/>
              <a:gd name="connsiteY71" fmla="*/ 355113 h 361466"/>
              <a:gd name="connsiteX72" fmla="*/ 545338 w 977755"/>
              <a:gd name="connsiteY72" fmla="*/ 349974 h 361466"/>
              <a:gd name="connsiteX73" fmla="*/ 541555 w 977755"/>
              <a:gd name="connsiteY73" fmla="*/ 344406 h 361466"/>
              <a:gd name="connsiteX74" fmla="*/ 540199 w 977755"/>
              <a:gd name="connsiteY74" fmla="*/ 337554 h 361466"/>
              <a:gd name="connsiteX75" fmla="*/ 557687 w 977755"/>
              <a:gd name="connsiteY75" fmla="*/ 320066 h 361466"/>
              <a:gd name="connsiteX76" fmla="*/ 714579 w 977755"/>
              <a:gd name="connsiteY76" fmla="*/ 316140 h 361466"/>
              <a:gd name="connsiteX77" fmla="*/ 736064 w 977755"/>
              <a:gd name="connsiteY77" fmla="*/ 337625 h 361466"/>
              <a:gd name="connsiteX78" fmla="*/ 734351 w 977755"/>
              <a:gd name="connsiteY78" fmla="*/ 345977 h 361466"/>
              <a:gd name="connsiteX79" fmla="*/ 729854 w 977755"/>
              <a:gd name="connsiteY79" fmla="*/ 352829 h 361466"/>
              <a:gd name="connsiteX80" fmla="*/ 714651 w 977755"/>
              <a:gd name="connsiteY80" fmla="*/ 359111 h 361466"/>
              <a:gd name="connsiteX81" fmla="*/ 699447 w 977755"/>
              <a:gd name="connsiteY81" fmla="*/ 352829 h 361466"/>
              <a:gd name="connsiteX82" fmla="*/ 694807 w 977755"/>
              <a:gd name="connsiteY82" fmla="*/ 345977 h 361466"/>
              <a:gd name="connsiteX83" fmla="*/ 693094 w 977755"/>
              <a:gd name="connsiteY83" fmla="*/ 337625 h 361466"/>
              <a:gd name="connsiteX84" fmla="*/ 714579 w 977755"/>
              <a:gd name="connsiteY84" fmla="*/ 316140 h 361466"/>
              <a:gd name="connsiteX85" fmla="*/ 793025 w 977755"/>
              <a:gd name="connsiteY85" fmla="*/ 313784 h 361466"/>
              <a:gd name="connsiteX86" fmla="*/ 806373 w 977755"/>
              <a:gd name="connsiteY86" fmla="*/ 317853 h 361466"/>
              <a:gd name="connsiteX87" fmla="*/ 816865 w 977755"/>
              <a:gd name="connsiteY87" fmla="*/ 337625 h 361466"/>
              <a:gd name="connsiteX88" fmla="*/ 815010 w 977755"/>
              <a:gd name="connsiteY88" fmla="*/ 346904 h 361466"/>
              <a:gd name="connsiteX89" fmla="*/ 809870 w 977755"/>
              <a:gd name="connsiteY89" fmla="*/ 354470 h 361466"/>
              <a:gd name="connsiteX90" fmla="*/ 806373 w 977755"/>
              <a:gd name="connsiteY90" fmla="*/ 357397 h 361466"/>
              <a:gd name="connsiteX91" fmla="*/ 793025 w 977755"/>
              <a:gd name="connsiteY91" fmla="*/ 361466 h 361466"/>
              <a:gd name="connsiteX92" fmla="*/ 788242 w 977755"/>
              <a:gd name="connsiteY92" fmla="*/ 360966 h 361466"/>
              <a:gd name="connsiteX93" fmla="*/ 776179 w 977755"/>
              <a:gd name="connsiteY93" fmla="*/ 354470 h 361466"/>
              <a:gd name="connsiteX94" fmla="*/ 771040 w 977755"/>
              <a:gd name="connsiteY94" fmla="*/ 346904 h 361466"/>
              <a:gd name="connsiteX95" fmla="*/ 769184 w 977755"/>
              <a:gd name="connsiteY95" fmla="*/ 337625 h 361466"/>
              <a:gd name="connsiteX96" fmla="*/ 788242 w 977755"/>
              <a:gd name="connsiteY96" fmla="*/ 314284 h 361466"/>
              <a:gd name="connsiteX97" fmla="*/ 793025 w 977755"/>
              <a:gd name="connsiteY97" fmla="*/ 313784 h 361466"/>
              <a:gd name="connsiteX98" fmla="*/ 47753 w 977755"/>
              <a:gd name="connsiteY98" fmla="*/ 289372 h 361466"/>
              <a:gd name="connsiteX99" fmla="*/ 56747 w 977755"/>
              <a:gd name="connsiteY99" fmla="*/ 298366 h 361466"/>
              <a:gd name="connsiteX100" fmla="*/ 47753 w 977755"/>
              <a:gd name="connsiteY100" fmla="*/ 307360 h 361466"/>
              <a:gd name="connsiteX101" fmla="*/ 38759 w 977755"/>
              <a:gd name="connsiteY101" fmla="*/ 298366 h 361466"/>
              <a:gd name="connsiteX102" fmla="*/ 47753 w 977755"/>
              <a:gd name="connsiteY102" fmla="*/ 289372 h 361466"/>
              <a:gd name="connsiteX103" fmla="*/ 126198 w 977755"/>
              <a:gd name="connsiteY103" fmla="*/ 288373 h 361466"/>
              <a:gd name="connsiteX104" fmla="*/ 136191 w 977755"/>
              <a:gd name="connsiteY104" fmla="*/ 298366 h 361466"/>
              <a:gd name="connsiteX105" fmla="*/ 126198 w 977755"/>
              <a:gd name="connsiteY105" fmla="*/ 308359 h 361466"/>
              <a:gd name="connsiteX106" fmla="*/ 116205 w 977755"/>
              <a:gd name="connsiteY106" fmla="*/ 298366 h 361466"/>
              <a:gd name="connsiteX107" fmla="*/ 126198 w 977755"/>
              <a:gd name="connsiteY107" fmla="*/ 288373 h 361466"/>
              <a:gd name="connsiteX108" fmla="*/ 283162 w 977755"/>
              <a:gd name="connsiteY108" fmla="*/ 286160 h 361466"/>
              <a:gd name="connsiteX109" fmla="*/ 295368 w 977755"/>
              <a:gd name="connsiteY109" fmla="*/ 298366 h 361466"/>
              <a:gd name="connsiteX110" fmla="*/ 283162 w 977755"/>
              <a:gd name="connsiteY110" fmla="*/ 310572 h 361466"/>
              <a:gd name="connsiteX111" fmla="*/ 270956 w 977755"/>
              <a:gd name="connsiteY111" fmla="*/ 298366 h 361466"/>
              <a:gd name="connsiteX112" fmla="*/ 283162 w 977755"/>
              <a:gd name="connsiteY112" fmla="*/ 286160 h 361466"/>
              <a:gd name="connsiteX113" fmla="*/ 361536 w 977755"/>
              <a:gd name="connsiteY113" fmla="*/ 284804 h 361466"/>
              <a:gd name="connsiteX114" fmla="*/ 375098 w 977755"/>
              <a:gd name="connsiteY114" fmla="*/ 298366 h 361466"/>
              <a:gd name="connsiteX115" fmla="*/ 361536 w 977755"/>
              <a:gd name="connsiteY115" fmla="*/ 311928 h 361466"/>
              <a:gd name="connsiteX116" fmla="*/ 347974 w 977755"/>
              <a:gd name="connsiteY116" fmla="*/ 298366 h 361466"/>
              <a:gd name="connsiteX117" fmla="*/ 361536 w 977755"/>
              <a:gd name="connsiteY117" fmla="*/ 284804 h 361466"/>
              <a:gd name="connsiteX118" fmla="*/ 518428 w 977755"/>
              <a:gd name="connsiteY118" fmla="*/ 281735 h 361466"/>
              <a:gd name="connsiteX119" fmla="*/ 535060 w 977755"/>
              <a:gd name="connsiteY119" fmla="*/ 298366 h 361466"/>
              <a:gd name="connsiteX120" fmla="*/ 518428 w 977755"/>
              <a:gd name="connsiteY120" fmla="*/ 314998 h 361466"/>
              <a:gd name="connsiteX121" fmla="*/ 501797 w 977755"/>
              <a:gd name="connsiteY121" fmla="*/ 298366 h 361466"/>
              <a:gd name="connsiteX122" fmla="*/ 518428 w 977755"/>
              <a:gd name="connsiteY122" fmla="*/ 281735 h 361466"/>
              <a:gd name="connsiteX123" fmla="*/ 596946 w 977755"/>
              <a:gd name="connsiteY123" fmla="*/ 279950 h 361466"/>
              <a:gd name="connsiteX124" fmla="*/ 615362 w 977755"/>
              <a:gd name="connsiteY124" fmla="*/ 298366 h 361466"/>
              <a:gd name="connsiteX125" fmla="*/ 596946 w 977755"/>
              <a:gd name="connsiteY125" fmla="*/ 316782 h 361466"/>
              <a:gd name="connsiteX126" fmla="*/ 578530 w 977755"/>
              <a:gd name="connsiteY126" fmla="*/ 298366 h 361466"/>
              <a:gd name="connsiteX127" fmla="*/ 596946 w 977755"/>
              <a:gd name="connsiteY127" fmla="*/ 279950 h 361466"/>
              <a:gd name="connsiteX128" fmla="*/ 753766 w 977755"/>
              <a:gd name="connsiteY128" fmla="*/ 275739 h 361466"/>
              <a:gd name="connsiteX129" fmla="*/ 776394 w 977755"/>
              <a:gd name="connsiteY129" fmla="*/ 298366 h 361466"/>
              <a:gd name="connsiteX130" fmla="*/ 753766 w 977755"/>
              <a:gd name="connsiteY130" fmla="*/ 320994 h 361466"/>
              <a:gd name="connsiteX131" fmla="*/ 731139 w 977755"/>
              <a:gd name="connsiteY131" fmla="*/ 298366 h 361466"/>
              <a:gd name="connsiteX132" fmla="*/ 753766 w 977755"/>
              <a:gd name="connsiteY132" fmla="*/ 275739 h 361466"/>
              <a:gd name="connsiteX133" fmla="*/ 832283 w 977755"/>
              <a:gd name="connsiteY133" fmla="*/ 273241 h 361466"/>
              <a:gd name="connsiteX134" fmla="*/ 857337 w 977755"/>
              <a:gd name="connsiteY134" fmla="*/ 298367 h 361466"/>
              <a:gd name="connsiteX135" fmla="*/ 832283 w 977755"/>
              <a:gd name="connsiteY135" fmla="*/ 323421 h 361466"/>
              <a:gd name="connsiteX136" fmla="*/ 807229 w 977755"/>
              <a:gd name="connsiteY136" fmla="*/ 298367 h 361466"/>
              <a:gd name="connsiteX137" fmla="*/ 832283 w 977755"/>
              <a:gd name="connsiteY137" fmla="*/ 273241 h 361466"/>
              <a:gd name="connsiteX138" fmla="*/ 86939 w 977755"/>
              <a:gd name="connsiteY138" fmla="*/ 249685 h 361466"/>
              <a:gd name="connsiteX139" fmla="*/ 96433 w 977755"/>
              <a:gd name="connsiteY139" fmla="*/ 259179 h 361466"/>
              <a:gd name="connsiteX140" fmla="*/ 86939 w 977755"/>
              <a:gd name="connsiteY140" fmla="*/ 268672 h 361466"/>
              <a:gd name="connsiteX141" fmla="*/ 77446 w 977755"/>
              <a:gd name="connsiteY141" fmla="*/ 259179 h 361466"/>
              <a:gd name="connsiteX142" fmla="*/ 86939 w 977755"/>
              <a:gd name="connsiteY142" fmla="*/ 249685 h 361466"/>
              <a:gd name="connsiteX143" fmla="*/ 165457 w 977755"/>
              <a:gd name="connsiteY143" fmla="*/ 248686 h 361466"/>
              <a:gd name="connsiteX144" fmla="*/ 174165 w 977755"/>
              <a:gd name="connsiteY144" fmla="*/ 253326 h 361466"/>
              <a:gd name="connsiteX145" fmla="*/ 175950 w 977755"/>
              <a:gd name="connsiteY145" fmla="*/ 259179 h 361466"/>
              <a:gd name="connsiteX146" fmla="*/ 174165 w 977755"/>
              <a:gd name="connsiteY146" fmla="*/ 265032 h 361466"/>
              <a:gd name="connsiteX147" fmla="*/ 165457 w 977755"/>
              <a:gd name="connsiteY147" fmla="*/ 269814 h 361466"/>
              <a:gd name="connsiteX148" fmla="*/ 163315 w 977755"/>
              <a:gd name="connsiteY148" fmla="*/ 269600 h 361466"/>
              <a:gd name="connsiteX149" fmla="*/ 158033 w 977755"/>
              <a:gd name="connsiteY149" fmla="*/ 266745 h 361466"/>
              <a:gd name="connsiteX150" fmla="*/ 156748 w 977755"/>
              <a:gd name="connsiteY150" fmla="*/ 265175 h 361466"/>
              <a:gd name="connsiteX151" fmla="*/ 155178 w 977755"/>
              <a:gd name="connsiteY151" fmla="*/ 261392 h 361466"/>
              <a:gd name="connsiteX152" fmla="*/ 154964 w 977755"/>
              <a:gd name="connsiteY152" fmla="*/ 259250 h 361466"/>
              <a:gd name="connsiteX153" fmla="*/ 155178 w 977755"/>
              <a:gd name="connsiteY153" fmla="*/ 257109 h 361466"/>
              <a:gd name="connsiteX154" fmla="*/ 156748 w 977755"/>
              <a:gd name="connsiteY154" fmla="*/ 253326 h 361466"/>
              <a:gd name="connsiteX155" fmla="*/ 158033 w 977755"/>
              <a:gd name="connsiteY155" fmla="*/ 251755 h 361466"/>
              <a:gd name="connsiteX156" fmla="*/ 163315 w 977755"/>
              <a:gd name="connsiteY156" fmla="*/ 248900 h 361466"/>
              <a:gd name="connsiteX157" fmla="*/ 165457 w 977755"/>
              <a:gd name="connsiteY157" fmla="*/ 248686 h 361466"/>
              <a:gd name="connsiteX158" fmla="*/ 322349 w 977755"/>
              <a:gd name="connsiteY158" fmla="*/ 246259 h 361466"/>
              <a:gd name="connsiteX159" fmla="*/ 329559 w 977755"/>
              <a:gd name="connsiteY159" fmla="*/ 248472 h 361466"/>
              <a:gd name="connsiteX160" fmla="*/ 335198 w 977755"/>
              <a:gd name="connsiteY160" fmla="*/ 259179 h 361466"/>
              <a:gd name="connsiteX161" fmla="*/ 329559 w 977755"/>
              <a:gd name="connsiteY161" fmla="*/ 269886 h 361466"/>
              <a:gd name="connsiteX162" fmla="*/ 322349 w 977755"/>
              <a:gd name="connsiteY162" fmla="*/ 272098 h 361466"/>
              <a:gd name="connsiteX163" fmla="*/ 319780 w 977755"/>
              <a:gd name="connsiteY163" fmla="*/ 271813 h 361466"/>
              <a:gd name="connsiteX164" fmla="*/ 309501 w 977755"/>
              <a:gd name="connsiteY164" fmla="*/ 259179 h 361466"/>
              <a:gd name="connsiteX165" fmla="*/ 319780 w 977755"/>
              <a:gd name="connsiteY165" fmla="*/ 246545 h 361466"/>
              <a:gd name="connsiteX166" fmla="*/ 322349 w 977755"/>
              <a:gd name="connsiteY166" fmla="*/ 246259 h 361466"/>
              <a:gd name="connsiteX167" fmla="*/ 400795 w 977755"/>
              <a:gd name="connsiteY167" fmla="*/ 244903 h 361466"/>
              <a:gd name="connsiteX168" fmla="*/ 415071 w 977755"/>
              <a:gd name="connsiteY168" fmla="*/ 259179 h 361466"/>
              <a:gd name="connsiteX169" fmla="*/ 400795 w 977755"/>
              <a:gd name="connsiteY169" fmla="*/ 273455 h 361466"/>
              <a:gd name="connsiteX170" fmla="*/ 386519 w 977755"/>
              <a:gd name="connsiteY170" fmla="*/ 259179 h 361466"/>
              <a:gd name="connsiteX171" fmla="*/ 400795 w 977755"/>
              <a:gd name="connsiteY171" fmla="*/ 244903 h 361466"/>
              <a:gd name="connsiteX172" fmla="*/ 557687 w 977755"/>
              <a:gd name="connsiteY172" fmla="*/ 241691 h 361466"/>
              <a:gd name="connsiteX173" fmla="*/ 575175 w 977755"/>
              <a:gd name="connsiteY173" fmla="*/ 259179 h 361466"/>
              <a:gd name="connsiteX174" fmla="*/ 557687 w 977755"/>
              <a:gd name="connsiteY174" fmla="*/ 276667 h 361466"/>
              <a:gd name="connsiteX175" fmla="*/ 540199 w 977755"/>
              <a:gd name="connsiteY175" fmla="*/ 259179 h 361466"/>
              <a:gd name="connsiteX176" fmla="*/ 557687 w 977755"/>
              <a:gd name="connsiteY176" fmla="*/ 241691 h 361466"/>
              <a:gd name="connsiteX177" fmla="*/ 636061 w 977755"/>
              <a:gd name="connsiteY177" fmla="*/ 239764 h 361466"/>
              <a:gd name="connsiteX178" fmla="*/ 652193 w 977755"/>
              <a:gd name="connsiteY178" fmla="*/ 248330 h 361466"/>
              <a:gd name="connsiteX179" fmla="*/ 655476 w 977755"/>
              <a:gd name="connsiteY179" fmla="*/ 259179 h 361466"/>
              <a:gd name="connsiteX180" fmla="*/ 652193 w 977755"/>
              <a:gd name="connsiteY180" fmla="*/ 270029 h 361466"/>
              <a:gd name="connsiteX181" fmla="*/ 636061 w 977755"/>
              <a:gd name="connsiteY181" fmla="*/ 278594 h 361466"/>
              <a:gd name="connsiteX182" fmla="*/ 632135 w 977755"/>
              <a:gd name="connsiteY182" fmla="*/ 278166 h 361466"/>
              <a:gd name="connsiteX183" fmla="*/ 622356 w 977755"/>
              <a:gd name="connsiteY183" fmla="*/ 272884 h 361466"/>
              <a:gd name="connsiteX184" fmla="*/ 620001 w 977755"/>
              <a:gd name="connsiteY184" fmla="*/ 270029 h 361466"/>
              <a:gd name="connsiteX185" fmla="*/ 617074 w 977755"/>
              <a:gd name="connsiteY185" fmla="*/ 263105 h 361466"/>
              <a:gd name="connsiteX186" fmla="*/ 616646 w 977755"/>
              <a:gd name="connsiteY186" fmla="*/ 259179 h 361466"/>
              <a:gd name="connsiteX187" fmla="*/ 617074 w 977755"/>
              <a:gd name="connsiteY187" fmla="*/ 255253 h 361466"/>
              <a:gd name="connsiteX188" fmla="*/ 620001 w 977755"/>
              <a:gd name="connsiteY188" fmla="*/ 248330 h 361466"/>
              <a:gd name="connsiteX189" fmla="*/ 622356 w 977755"/>
              <a:gd name="connsiteY189" fmla="*/ 245474 h 361466"/>
              <a:gd name="connsiteX190" fmla="*/ 632135 w 977755"/>
              <a:gd name="connsiteY190" fmla="*/ 240192 h 361466"/>
              <a:gd name="connsiteX191" fmla="*/ 636061 w 977755"/>
              <a:gd name="connsiteY191" fmla="*/ 239764 h 361466"/>
              <a:gd name="connsiteX192" fmla="*/ 793025 w 977755"/>
              <a:gd name="connsiteY192" fmla="*/ 235338 h 361466"/>
              <a:gd name="connsiteX193" fmla="*/ 806373 w 977755"/>
              <a:gd name="connsiteY193" fmla="*/ 239407 h 361466"/>
              <a:gd name="connsiteX194" fmla="*/ 816865 w 977755"/>
              <a:gd name="connsiteY194" fmla="*/ 259179 h 361466"/>
              <a:gd name="connsiteX195" fmla="*/ 806373 w 977755"/>
              <a:gd name="connsiteY195" fmla="*/ 278951 h 361466"/>
              <a:gd name="connsiteX196" fmla="*/ 793025 w 977755"/>
              <a:gd name="connsiteY196" fmla="*/ 283020 h 361466"/>
              <a:gd name="connsiteX197" fmla="*/ 788242 w 977755"/>
              <a:gd name="connsiteY197" fmla="*/ 282520 h 361466"/>
              <a:gd name="connsiteX198" fmla="*/ 769184 w 977755"/>
              <a:gd name="connsiteY198" fmla="*/ 259179 h 361466"/>
              <a:gd name="connsiteX199" fmla="*/ 788242 w 977755"/>
              <a:gd name="connsiteY199" fmla="*/ 235838 h 361466"/>
              <a:gd name="connsiteX200" fmla="*/ 793025 w 977755"/>
              <a:gd name="connsiteY200" fmla="*/ 235338 h 361466"/>
              <a:gd name="connsiteX201" fmla="*/ 871470 w 977755"/>
              <a:gd name="connsiteY201" fmla="*/ 232768 h 361466"/>
              <a:gd name="connsiteX202" fmla="*/ 897881 w 977755"/>
              <a:gd name="connsiteY202" fmla="*/ 259178 h 361466"/>
              <a:gd name="connsiteX203" fmla="*/ 871470 w 977755"/>
              <a:gd name="connsiteY203" fmla="*/ 285589 h 361466"/>
              <a:gd name="connsiteX204" fmla="*/ 845060 w 977755"/>
              <a:gd name="connsiteY204" fmla="*/ 259178 h 361466"/>
              <a:gd name="connsiteX205" fmla="*/ 871470 w 977755"/>
              <a:gd name="connsiteY205" fmla="*/ 232768 h 361466"/>
              <a:gd name="connsiteX206" fmla="*/ 126198 w 977755"/>
              <a:gd name="connsiteY206" fmla="*/ 209927 h 361466"/>
              <a:gd name="connsiteX207" fmla="*/ 136191 w 977755"/>
              <a:gd name="connsiteY207" fmla="*/ 219920 h 361466"/>
              <a:gd name="connsiteX208" fmla="*/ 126198 w 977755"/>
              <a:gd name="connsiteY208" fmla="*/ 229913 h 361466"/>
              <a:gd name="connsiteX209" fmla="*/ 116205 w 977755"/>
              <a:gd name="connsiteY209" fmla="*/ 219920 h 361466"/>
              <a:gd name="connsiteX210" fmla="*/ 126198 w 977755"/>
              <a:gd name="connsiteY210" fmla="*/ 209927 h 361466"/>
              <a:gd name="connsiteX211" fmla="*/ 204644 w 977755"/>
              <a:gd name="connsiteY211" fmla="*/ 208856 h 361466"/>
              <a:gd name="connsiteX212" fmla="*/ 215708 w 977755"/>
              <a:gd name="connsiteY212" fmla="*/ 219920 h 361466"/>
              <a:gd name="connsiteX213" fmla="*/ 204644 w 977755"/>
              <a:gd name="connsiteY213" fmla="*/ 230984 h 361466"/>
              <a:gd name="connsiteX214" fmla="*/ 193580 w 977755"/>
              <a:gd name="connsiteY214" fmla="*/ 219920 h 361466"/>
              <a:gd name="connsiteX215" fmla="*/ 204644 w 977755"/>
              <a:gd name="connsiteY215" fmla="*/ 208856 h 361466"/>
              <a:gd name="connsiteX216" fmla="*/ 361536 w 977755"/>
              <a:gd name="connsiteY216" fmla="*/ 206358 h 361466"/>
              <a:gd name="connsiteX217" fmla="*/ 375098 w 977755"/>
              <a:gd name="connsiteY217" fmla="*/ 219920 h 361466"/>
              <a:gd name="connsiteX218" fmla="*/ 361536 w 977755"/>
              <a:gd name="connsiteY218" fmla="*/ 233482 h 361466"/>
              <a:gd name="connsiteX219" fmla="*/ 347974 w 977755"/>
              <a:gd name="connsiteY219" fmla="*/ 219920 h 361466"/>
              <a:gd name="connsiteX220" fmla="*/ 361536 w 977755"/>
              <a:gd name="connsiteY220" fmla="*/ 206358 h 361466"/>
              <a:gd name="connsiteX221" fmla="*/ 440054 w 977755"/>
              <a:gd name="connsiteY221" fmla="*/ 204930 h 361466"/>
              <a:gd name="connsiteX222" fmla="*/ 455043 w 977755"/>
              <a:gd name="connsiteY222" fmla="*/ 219920 h 361466"/>
              <a:gd name="connsiteX223" fmla="*/ 440054 w 977755"/>
              <a:gd name="connsiteY223" fmla="*/ 234909 h 361466"/>
              <a:gd name="connsiteX224" fmla="*/ 425064 w 977755"/>
              <a:gd name="connsiteY224" fmla="*/ 219920 h 361466"/>
              <a:gd name="connsiteX225" fmla="*/ 440054 w 977755"/>
              <a:gd name="connsiteY225" fmla="*/ 204930 h 361466"/>
              <a:gd name="connsiteX226" fmla="*/ 596946 w 977755"/>
              <a:gd name="connsiteY226" fmla="*/ 201504 h 361466"/>
              <a:gd name="connsiteX227" fmla="*/ 615362 w 977755"/>
              <a:gd name="connsiteY227" fmla="*/ 219920 h 361466"/>
              <a:gd name="connsiteX228" fmla="*/ 596946 w 977755"/>
              <a:gd name="connsiteY228" fmla="*/ 238336 h 361466"/>
              <a:gd name="connsiteX229" fmla="*/ 578530 w 977755"/>
              <a:gd name="connsiteY229" fmla="*/ 219920 h 361466"/>
              <a:gd name="connsiteX230" fmla="*/ 596946 w 977755"/>
              <a:gd name="connsiteY230" fmla="*/ 201504 h 361466"/>
              <a:gd name="connsiteX231" fmla="*/ 675321 w 977755"/>
              <a:gd name="connsiteY231" fmla="*/ 199506 h 361466"/>
              <a:gd name="connsiteX232" fmla="*/ 695735 w 977755"/>
              <a:gd name="connsiteY232" fmla="*/ 219921 h 361466"/>
              <a:gd name="connsiteX233" fmla="*/ 675321 w 977755"/>
              <a:gd name="connsiteY233" fmla="*/ 240335 h 361466"/>
              <a:gd name="connsiteX234" fmla="*/ 654906 w 977755"/>
              <a:gd name="connsiteY234" fmla="*/ 219921 h 361466"/>
              <a:gd name="connsiteX235" fmla="*/ 675321 w 977755"/>
              <a:gd name="connsiteY235" fmla="*/ 199506 h 361466"/>
              <a:gd name="connsiteX236" fmla="*/ 832283 w 977755"/>
              <a:gd name="connsiteY236" fmla="*/ 194866 h 361466"/>
              <a:gd name="connsiteX237" fmla="*/ 857337 w 977755"/>
              <a:gd name="connsiteY237" fmla="*/ 219920 h 361466"/>
              <a:gd name="connsiteX238" fmla="*/ 832283 w 977755"/>
              <a:gd name="connsiteY238" fmla="*/ 245046 h 361466"/>
              <a:gd name="connsiteX239" fmla="*/ 807229 w 977755"/>
              <a:gd name="connsiteY239" fmla="*/ 219920 h 361466"/>
              <a:gd name="connsiteX240" fmla="*/ 832283 w 977755"/>
              <a:gd name="connsiteY240" fmla="*/ 194866 h 361466"/>
              <a:gd name="connsiteX241" fmla="*/ 165529 w 977755"/>
              <a:gd name="connsiteY241" fmla="*/ 170240 h 361466"/>
              <a:gd name="connsiteX242" fmla="*/ 174237 w 977755"/>
              <a:gd name="connsiteY242" fmla="*/ 174880 h 361466"/>
              <a:gd name="connsiteX243" fmla="*/ 176022 w 977755"/>
              <a:gd name="connsiteY243" fmla="*/ 180733 h 361466"/>
              <a:gd name="connsiteX244" fmla="*/ 175165 w 977755"/>
              <a:gd name="connsiteY244" fmla="*/ 184801 h 361466"/>
              <a:gd name="connsiteX245" fmla="*/ 174166 w 977755"/>
              <a:gd name="connsiteY245" fmla="*/ 186586 h 361466"/>
              <a:gd name="connsiteX246" fmla="*/ 173024 w 977755"/>
              <a:gd name="connsiteY246" fmla="*/ 188299 h 361466"/>
              <a:gd name="connsiteX247" fmla="*/ 165600 w 977755"/>
              <a:gd name="connsiteY247" fmla="*/ 191368 h 361466"/>
              <a:gd name="connsiteX248" fmla="*/ 163459 w 977755"/>
              <a:gd name="connsiteY248" fmla="*/ 191154 h 361466"/>
              <a:gd name="connsiteX249" fmla="*/ 158177 w 977755"/>
              <a:gd name="connsiteY249" fmla="*/ 188299 h 361466"/>
              <a:gd name="connsiteX250" fmla="*/ 156892 w 977755"/>
              <a:gd name="connsiteY250" fmla="*/ 186729 h 361466"/>
              <a:gd name="connsiteX251" fmla="*/ 155893 w 977755"/>
              <a:gd name="connsiteY251" fmla="*/ 184944 h 361466"/>
              <a:gd name="connsiteX252" fmla="*/ 155250 w 977755"/>
              <a:gd name="connsiteY252" fmla="*/ 182946 h 361466"/>
              <a:gd name="connsiteX253" fmla="*/ 155036 w 977755"/>
              <a:gd name="connsiteY253" fmla="*/ 180804 h 361466"/>
              <a:gd name="connsiteX254" fmla="*/ 155250 w 977755"/>
              <a:gd name="connsiteY254" fmla="*/ 178663 h 361466"/>
              <a:gd name="connsiteX255" fmla="*/ 156820 w 977755"/>
              <a:gd name="connsiteY255" fmla="*/ 174880 h 361466"/>
              <a:gd name="connsiteX256" fmla="*/ 158105 w 977755"/>
              <a:gd name="connsiteY256" fmla="*/ 173309 h 361466"/>
              <a:gd name="connsiteX257" fmla="*/ 163387 w 977755"/>
              <a:gd name="connsiteY257" fmla="*/ 170454 h 361466"/>
              <a:gd name="connsiteX258" fmla="*/ 165529 w 977755"/>
              <a:gd name="connsiteY258" fmla="*/ 170240 h 361466"/>
              <a:gd name="connsiteX259" fmla="*/ 243903 w 977755"/>
              <a:gd name="connsiteY259" fmla="*/ 169098 h 361466"/>
              <a:gd name="connsiteX260" fmla="*/ 255538 w 977755"/>
              <a:gd name="connsiteY260" fmla="*/ 180733 h 361466"/>
              <a:gd name="connsiteX261" fmla="*/ 254610 w 977755"/>
              <a:gd name="connsiteY261" fmla="*/ 185230 h 361466"/>
              <a:gd name="connsiteX262" fmla="*/ 252111 w 977755"/>
              <a:gd name="connsiteY262" fmla="*/ 188942 h 361466"/>
              <a:gd name="connsiteX263" fmla="*/ 243903 w 977755"/>
              <a:gd name="connsiteY263" fmla="*/ 192368 h 361466"/>
              <a:gd name="connsiteX264" fmla="*/ 235694 w 977755"/>
              <a:gd name="connsiteY264" fmla="*/ 188942 h 361466"/>
              <a:gd name="connsiteX265" fmla="*/ 233196 w 977755"/>
              <a:gd name="connsiteY265" fmla="*/ 185230 h 361466"/>
              <a:gd name="connsiteX266" fmla="*/ 232268 w 977755"/>
              <a:gd name="connsiteY266" fmla="*/ 180733 h 361466"/>
              <a:gd name="connsiteX267" fmla="*/ 243903 w 977755"/>
              <a:gd name="connsiteY267" fmla="*/ 169098 h 361466"/>
              <a:gd name="connsiteX268" fmla="*/ 400795 w 977755"/>
              <a:gd name="connsiteY268" fmla="*/ 166385 h 361466"/>
              <a:gd name="connsiteX269" fmla="*/ 415071 w 977755"/>
              <a:gd name="connsiteY269" fmla="*/ 180661 h 361466"/>
              <a:gd name="connsiteX270" fmla="*/ 413929 w 977755"/>
              <a:gd name="connsiteY270" fmla="*/ 186229 h 361466"/>
              <a:gd name="connsiteX271" fmla="*/ 410859 w 977755"/>
              <a:gd name="connsiteY271" fmla="*/ 190797 h 361466"/>
              <a:gd name="connsiteX272" fmla="*/ 400795 w 977755"/>
              <a:gd name="connsiteY272" fmla="*/ 195008 h 361466"/>
              <a:gd name="connsiteX273" fmla="*/ 390730 w 977755"/>
              <a:gd name="connsiteY273" fmla="*/ 190797 h 361466"/>
              <a:gd name="connsiteX274" fmla="*/ 387661 w 977755"/>
              <a:gd name="connsiteY274" fmla="*/ 186229 h 361466"/>
              <a:gd name="connsiteX275" fmla="*/ 386519 w 977755"/>
              <a:gd name="connsiteY275" fmla="*/ 180661 h 361466"/>
              <a:gd name="connsiteX276" fmla="*/ 400795 w 977755"/>
              <a:gd name="connsiteY276" fmla="*/ 166385 h 361466"/>
              <a:gd name="connsiteX277" fmla="*/ 479098 w 977755"/>
              <a:gd name="connsiteY277" fmla="*/ 164815 h 361466"/>
              <a:gd name="connsiteX278" fmla="*/ 492232 w 977755"/>
              <a:gd name="connsiteY278" fmla="*/ 171810 h 361466"/>
              <a:gd name="connsiteX279" fmla="*/ 494944 w 977755"/>
              <a:gd name="connsiteY279" fmla="*/ 180661 h 361466"/>
              <a:gd name="connsiteX280" fmla="*/ 493731 w 977755"/>
              <a:gd name="connsiteY280" fmla="*/ 186800 h 361466"/>
              <a:gd name="connsiteX281" fmla="*/ 492303 w 977755"/>
              <a:gd name="connsiteY281" fmla="*/ 189512 h 361466"/>
              <a:gd name="connsiteX282" fmla="*/ 490304 w 977755"/>
              <a:gd name="connsiteY282" fmla="*/ 191939 h 361466"/>
              <a:gd name="connsiteX283" fmla="*/ 479098 w 977755"/>
              <a:gd name="connsiteY283" fmla="*/ 196579 h 361466"/>
              <a:gd name="connsiteX284" fmla="*/ 475886 w 977755"/>
              <a:gd name="connsiteY284" fmla="*/ 196222 h 361466"/>
              <a:gd name="connsiteX285" fmla="*/ 467891 w 977755"/>
              <a:gd name="connsiteY285" fmla="*/ 191939 h 361466"/>
              <a:gd name="connsiteX286" fmla="*/ 465964 w 977755"/>
              <a:gd name="connsiteY286" fmla="*/ 189584 h 361466"/>
              <a:gd name="connsiteX287" fmla="*/ 464536 w 977755"/>
              <a:gd name="connsiteY287" fmla="*/ 186871 h 361466"/>
              <a:gd name="connsiteX288" fmla="*/ 463608 w 977755"/>
              <a:gd name="connsiteY288" fmla="*/ 183873 h 361466"/>
              <a:gd name="connsiteX289" fmla="*/ 463323 w 977755"/>
              <a:gd name="connsiteY289" fmla="*/ 180661 h 361466"/>
              <a:gd name="connsiteX290" fmla="*/ 463608 w 977755"/>
              <a:gd name="connsiteY290" fmla="*/ 177449 h 361466"/>
              <a:gd name="connsiteX291" fmla="*/ 465964 w 977755"/>
              <a:gd name="connsiteY291" fmla="*/ 171810 h 361466"/>
              <a:gd name="connsiteX292" fmla="*/ 467891 w 977755"/>
              <a:gd name="connsiteY292" fmla="*/ 169455 h 361466"/>
              <a:gd name="connsiteX293" fmla="*/ 475886 w 977755"/>
              <a:gd name="connsiteY293" fmla="*/ 165172 h 361466"/>
              <a:gd name="connsiteX294" fmla="*/ 479098 w 977755"/>
              <a:gd name="connsiteY294" fmla="*/ 164815 h 361466"/>
              <a:gd name="connsiteX295" fmla="*/ 636061 w 977755"/>
              <a:gd name="connsiteY295" fmla="*/ 161317 h 361466"/>
              <a:gd name="connsiteX296" fmla="*/ 652193 w 977755"/>
              <a:gd name="connsiteY296" fmla="*/ 169883 h 361466"/>
              <a:gd name="connsiteX297" fmla="*/ 655476 w 977755"/>
              <a:gd name="connsiteY297" fmla="*/ 180732 h 361466"/>
              <a:gd name="connsiteX298" fmla="*/ 653977 w 977755"/>
              <a:gd name="connsiteY298" fmla="*/ 188298 h 361466"/>
              <a:gd name="connsiteX299" fmla="*/ 652193 w 977755"/>
              <a:gd name="connsiteY299" fmla="*/ 191582 h 361466"/>
              <a:gd name="connsiteX300" fmla="*/ 649766 w 977755"/>
              <a:gd name="connsiteY300" fmla="*/ 194437 h 361466"/>
              <a:gd name="connsiteX301" fmla="*/ 636061 w 977755"/>
              <a:gd name="connsiteY301" fmla="*/ 200148 h 361466"/>
              <a:gd name="connsiteX302" fmla="*/ 632135 w 977755"/>
              <a:gd name="connsiteY302" fmla="*/ 199719 h 361466"/>
              <a:gd name="connsiteX303" fmla="*/ 622356 w 977755"/>
              <a:gd name="connsiteY303" fmla="*/ 194437 h 361466"/>
              <a:gd name="connsiteX304" fmla="*/ 620001 w 977755"/>
              <a:gd name="connsiteY304" fmla="*/ 191582 h 361466"/>
              <a:gd name="connsiteX305" fmla="*/ 618216 w 977755"/>
              <a:gd name="connsiteY305" fmla="*/ 188298 h 361466"/>
              <a:gd name="connsiteX306" fmla="*/ 617074 w 977755"/>
              <a:gd name="connsiteY306" fmla="*/ 184658 h 361466"/>
              <a:gd name="connsiteX307" fmla="*/ 616646 w 977755"/>
              <a:gd name="connsiteY307" fmla="*/ 180732 h 361466"/>
              <a:gd name="connsiteX308" fmla="*/ 617074 w 977755"/>
              <a:gd name="connsiteY308" fmla="*/ 176806 h 361466"/>
              <a:gd name="connsiteX309" fmla="*/ 620001 w 977755"/>
              <a:gd name="connsiteY309" fmla="*/ 169883 h 361466"/>
              <a:gd name="connsiteX310" fmla="*/ 622356 w 977755"/>
              <a:gd name="connsiteY310" fmla="*/ 167027 h 361466"/>
              <a:gd name="connsiteX311" fmla="*/ 632135 w 977755"/>
              <a:gd name="connsiteY311" fmla="*/ 161745 h 361466"/>
              <a:gd name="connsiteX312" fmla="*/ 636061 w 977755"/>
              <a:gd name="connsiteY312" fmla="*/ 161317 h 361466"/>
              <a:gd name="connsiteX313" fmla="*/ 714579 w 977755"/>
              <a:gd name="connsiteY313" fmla="*/ 159247 h 361466"/>
              <a:gd name="connsiteX314" fmla="*/ 736064 w 977755"/>
              <a:gd name="connsiteY314" fmla="*/ 180732 h 361466"/>
              <a:gd name="connsiteX315" fmla="*/ 734351 w 977755"/>
              <a:gd name="connsiteY315" fmla="*/ 189084 h 361466"/>
              <a:gd name="connsiteX316" fmla="*/ 729854 w 977755"/>
              <a:gd name="connsiteY316" fmla="*/ 195936 h 361466"/>
              <a:gd name="connsiteX317" fmla="*/ 714651 w 977755"/>
              <a:gd name="connsiteY317" fmla="*/ 202218 h 361466"/>
              <a:gd name="connsiteX318" fmla="*/ 699447 w 977755"/>
              <a:gd name="connsiteY318" fmla="*/ 195936 h 361466"/>
              <a:gd name="connsiteX319" fmla="*/ 694807 w 977755"/>
              <a:gd name="connsiteY319" fmla="*/ 189084 h 361466"/>
              <a:gd name="connsiteX320" fmla="*/ 693094 w 977755"/>
              <a:gd name="connsiteY320" fmla="*/ 180732 h 361466"/>
              <a:gd name="connsiteX321" fmla="*/ 714579 w 977755"/>
              <a:gd name="connsiteY321" fmla="*/ 159247 h 361466"/>
              <a:gd name="connsiteX322" fmla="*/ 871470 w 977755"/>
              <a:gd name="connsiteY322" fmla="*/ 154322 h 361466"/>
              <a:gd name="connsiteX323" fmla="*/ 897881 w 977755"/>
              <a:gd name="connsiteY323" fmla="*/ 180732 h 361466"/>
              <a:gd name="connsiteX324" fmla="*/ 895811 w 977755"/>
              <a:gd name="connsiteY324" fmla="*/ 191011 h 361466"/>
              <a:gd name="connsiteX325" fmla="*/ 890172 w 977755"/>
              <a:gd name="connsiteY325" fmla="*/ 199434 h 361466"/>
              <a:gd name="connsiteX326" fmla="*/ 871470 w 977755"/>
              <a:gd name="connsiteY326" fmla="*/ 207143 h 361466"/>
              <a:gd name="connsiteX327" fmla="*/ 852769 w 977755"/>
              <a:gd name="connsiteY327" fmla="*/ 199434 h 361466"/>
              <a:gd name="connsiteX328" fmla="*/ 847130 w 977755"/>
              <a:gd name="connsiteY328" fmla="*/ 191011 h 361466"/>
              <a:gd name="connsiteX329" fmla="*/ 845060 w 977755"/>
              <a:gd name="connsiteY329" fmla="*/ 180732 h 361466"/>
              <a:gd name="connsiteX330" fmla="*/ 871470 w 977755"/>
              <a:gd name="connsiteY330" fmla="*/ 154322 h 361466"/>
              <a:gd name="connsiteX331" fmla="*/ 126198 w 977755"/>
              <a:gd name="connsiteY331" fmla="*/ 131481 h 361466"/>
              <a:gd name="connsiteX332" fmla="*/ 136191 w 977755"/>
              <a:gd name="connsiteY332" fmla="*/ 141474 h 361466"/>
              <a:gd name="connsiteX333" fmla="*/ 126198 w 977755"/>
              <a:gd name="connsiteY333" fmla="*/ 151467 h 361466"/>
              <a:gd name="connsiteX334" fmla="*/ 116205 w 977755"/>
              <a:gd name="connsiteY334" fmla="*/ 141474 h 361466"/>
              <a:gd name="connsiteX335" fmla="*/ 126198 w 977755"/>
              <a:gd name="connsiteY335" fmla="*/ 131481 h 361466"/>
              <a:gd name="connsiteX336" fmla="*/ 204644 w 977755"/>
              <a:gd name="connsiteY336" fmla="*/ 130410 h 361466"/>
              <a:gd name="connsiteX337" fmla="*/ 215708 w 977755"/>
              <a:gd name="connsiteY337" fmla="*/ 141474 h 361466"/>
              <a:gd name="connsiteX338" fmla="*/ 204644 w 977755"/>
              <a:gd name="connsiteY338" fmla="*/ 152538 h 361466"/>
              <a:gd name="connsiteX339" fmla="*/ 193580 w 977755"/>
              <a:gd name="connsiteY339" fmla="*/ 141474 h 361466"/>
              <a:gd name="connsiteX340" fmla="*/ 204644 w 977755"/>
              <a:gd name="connsiteY340" fmla="*/ 130410 h 361466"/>
              <a:gd name="connsiteX341" fmla="*/ 361536 w 977755"/>
              <a:gd name="connsiteY341" fmla="*/ 127912 h 361466"/>
              <a:gd name="connsiteX342" fmla="*/ 375098 w 977755"/>
              <a:gd name="connsiteY342" fmla="*/ 141474 h 361466"/>
              <a:gd name="connsiteX343" fmla="*/ 361536 w 977755"/>
              <a:gd name="connsiteY343" fmla="*/ 155036 h 361466"/>
              <a:gd name="connsiteX344" fmla="*/ 347974 w 977755"/>
              <a:gd name="connsiteY344" fmla="*/ 141474 h 361466"/>
              <a:gd name="connsiteX345" fmla="*/ 361536 w 977755"/>
              <a:gd name="connsiteY345" fmla="*/ 127912 h 361466"/>
              <a:gd name="connsiteX346" fmla="*/ 440054 w 977755"/>
              <a:gd name="connsiteY346" fmla="*/ 126484 h 361466"/>
              <a:gd name="connsiteX347" fmla="*/ 455043 w 977755"/>
              <a:gd name="connsiteY347" fmla="*/ 141474 h 361466"/>
              <a:gd name="connsiteX348" fmla="*/ 440054 w 977755"/>
              <a:gd name="connsiteY348" fmla="*/ 156463 h 361466"/>
              <a:gd name="connsiteX349" fmla="*/ 425064 w 977755"/>
              <a:gd name="connsiteY349" fmla="*/ 141474 h 361466"/>
              <a:gd name="connsiteX350" fmla="*/ 440054 w 977755"/>
              <a:gd name="connsiteY350" fmla="*/ 126484 h 361466"/>
              <a:gd name="connsiteX351" fmla="*/ 596946 w 977755"/>
              <a:gd name="connsiteY351" fmla="*/ 123058 h 361466"/>
              <a:gd name="connsiteX352" fmla="*/ 615362 w 977755"/>
              <a:gd name="connsiteY352" fmla="*/ 141474 h 361466"/>
              <a:gd name="connsiteX353" fmla="*/ 596946 w 977755"/>
              <a:gd name="connsiteY353" fmla="*/ 159890 h 361466"/>
              <a:gd name="connsiteX354" fmla="*/ 578530 w 977755"/>
              <a:gd name="connsiteY354" fmla="*/ 141474 h 361466"/>
              <a:gd name="connsiteX355" fmla="*/ 596946 w 977755"/>
              <a:gd name="connsiteY355" fmla="*/ 123058 h 361466"/>
              <a:gd name="connsiteX356" fmla="*/ 675321 w 977755"/>
              <a:gd name="connsiteY356" fmla="*/ 121059 h 361466"/>
              <a:gd name="connsiteX357" fmla="*/ 695735 w 977755"/>
              <a:gd name="connsiteY357" fmla="*/ 141474 h 361466"/>
              <a:gd name="connsiteX358" fmla="*/ 675321 w 977755"/>
              <a:gd name="connsiteY358" fmla="*/ 161888 h 361466"/>
              <a:gd name="connsiteX359" fmla="*/ 654906 w 977755"/>
              <a:gd name="connsiteY359" fmla="*/ 141474 h 361466"/>
              <a:gd name="connsiteX360" fmla="*/ 675321 w 977755"/>
              <a:gd name="connsiteY360" fmla="*/ 121059 h 361466"/>
              <a:gd name="connsiteX361" fmla="*/ 832283 w 977755"/>
              <a:gd name="connsiteY361" fmla="*/ 116348 h 361466"/>
              <a:gd name="connsiteX362" fmla="*/ 857337 w 977755"/>
              <a:gd name="connsiteY362" fmla="*/ 141474 h 361466"/>
              <a:gd name="connsiteX363" fmla="*/ 832283 w 977755"/>
              <a:gd name="connsiteY363" fmla="*/ 166528 h 361466"/>
              <a:gd name="connsiteX364" fmla="*/ 807229 w 977755"/>
              <a:gd name="connsiteY364" fmla="*/ 141474 h 361466"/>
              <a:gd name="connsiteX365" fmla="*/ 832283 w 977755"/>
              <a:gd name="connsiteY365" fmla="*/ 116348 h 361466"/>
              <a:gd name="connsiteX366" fmla="*/ 910730 w 977755"/>
              <a:gd name="connsiteY366" fmla="*/ 113636 h 361466"/>
              <a:gd name="connsiteX367" fmla="*/ 938496 w 977755"/>
              <a:gd name="connsiteY367" fmla="*/ 141474 h 361466"/>
              <a:gd name="connsiteX368" fmla="*/ 930397 w 977755"/>
              <a:gd name="connsiteY368" fmla="*/ 161004 h 361466"/>
              <a:gd name="connsiteX369" fmla="*/ 949989 w 977755"/>
              <a:gd name="connsiteY369" fmla="*/ 152895 h 361466"/>
              <a:gd name="connsiteX370" fmla="*/ 977755 w 977755"/>
              <a:gd name="connsiteY370" fmla="*/ 180662 h 361466"/>
              <a:gd name="connsiteX371" fmla="*/ 975542 w 977755"/>
              <a:gd name="connsiteY371" fmla="*/ 191511 h 361466"/>
              <a:gd name="connsiteX372" fmla="*/ 969618 w 977755"/>
              <a:gd name="connsiteY372" fmla="*/ 200362 h 361466"/>
              <a:gd name="connsiteX373" fmla="*/ 949989 w 977755"/>
              <a:gd name="connsiteY373" fmla="*/ 208500 h 361466"/>
              <a:gd name="connsiteX374" fmla="*/ 930410 w 977755"/>
              <a:gd name="connsiteY374" fmla="*/ 200383 h 361466"/>
              <a:gd name="connsiteX375" fmla="*/ 938496 w 977755"/>
              <a:gd name="connsiteY375" fmla="*/ 219920 h 361466"/>
              <a:gd name="connsiteX376" fmla="*/ 910730 w 977755"/>
              <a:gd name="connsiteY376" fmla="*/ 247758 h 361466"/>
              <a:gd name="connsiteX377" fmla="*/ 882963 w 977755"/>
              <a:gd name="connsiteY377" fmla="*/ 219920 h 361466"/>
              <a:gd name="connsiteX378" fmla="*/ 910730 w 977755"/>
              <a:gd name="connsiteY378" fmla="*/ 192153 h 361466"/>
              <a:gd name="connsiteX379" fmla="*/ 930281 w 977755"/>
              <a:gd name="connsiteY379" fmla="*/ 200246 h 361466"/>
              <a:gd name="connsiteX380" fmla="*/ 924435 w 977755"/>
              <a:gd name="connsiteY380" fmla="*/ 191511 h 361466"/>
              <a:gd name="connsiteX381" fmla="*/ 922222 w 977755"/>
              <a:gd name="connsiteY381" fmla="*/ 180662 h 361466"/>
              <a:gd name="connsiteX382" fmla="*/ 930295 w 977755"/>
              <a:gd name="connsiteY382" fmla="*/ 161159 h 361466"/>
              <a:gd name="connsiteX383" fmla="*/ 910730 w 977755"/>
              <a:gd name="connsiteY383" fmla="*/ 169241 h 361466"/>
              <a:gd name="connsiteX384" fmla="*/ 882963 w 977755"/>
              <a:gd name="connsiteY384" fmla="*/ 141474 h 361466"/>
              <a:gd name="connsiteX385" fmla="*/ 910730 w 977755"/>
              <a:gd name="connsiteY385" fmla="*/ 113636 h 361466"/>
              <a:gd name="connsiteX386" fmla="*/ 86939 w 977755"/>
              <a:gd name="connsiteY386" fmla="*/ 92793 h 361466"/>
              <a:gd name="connsiteX387" fmla="*/ 96433 w 977755"/>
              <a:gd name="connsiteY387" fmla="*/ 102286 h 361466"/>
              <a:gd name="connsiteX388" fmla="*/ 86939 w 977755"/>
              <a:gd name="connsiteY388" fmla="*/ 111780 h 361466"/>
              <a:gd name="connsiteX389" fmla="*/ 77446 w 977755"/>
              <a:gd name="connsiteY389" fmla="*/ 102286 h 361466"/>
              <a:gd name="connsiteX390" fmla="*/ 86939 w 977755"/>
              <a:gd name="connsiteY390" fmla="*/ 92793 h 361466"/>
              <a:gd name="connsiteX391" fmla="*/ 165457 w 977755"/>
              <a:gd name="connsiteY391" fmla="*/ 91794 h 361466"/>
              <a:gd name="connsiteX392" fmla="*/ 174165 w 977755"/>
              <a:gd name="connsiteY392" fmla="*/ 96434 h 361466"/>
              <a:gd name="connsiteX393" fmla="*/ 175950 w 977755"/>
              <a:gd name="connsiteY393" fmla="*/ 102287 h 361466"/>
              <a:gd name="connsiteX394" fmla="*/ 174165 w 977755"/>
              <a:gd name="connsiteY394" fmla="*/ 108140 h 361466"/>
              <a:gd name="connsiteX395" fmla="*/ 165457 w 977755"/>
              <a:gd name="connsiteY395" fmla="*/ 112922 h 361466"/>
              <a:gd name="connsiteX396" fmla="*/ 163315 w 977755"/>
              <a:gd name="connsiteY396" fmla="*/ 112708 h 361466"/>
              <a:gd name="connsiteX397" fmla="*/ 158033 w 977755"/>
              <a:gd name="connsiteY397" fmla="*/ 109853 h 361466"/>
              <a:gd name="connsiteX398" fmla="*/ 156748 w 977755"/>
              <a:gd name="connsiteY398" fmla="*/ 108283 h 361466"/>
              <a:gd name="connsiteX399" fmla="*/ 155178 w 977755"/>
              <a:gd name="connsiteY399" fmla="*/ 104500 h 361466"/>
              <a:gd name="connsiteX400" fmla="*/ 154964 w 977755"/>
              <a:gd name="connsiteY400" fmla="*/ 102358 h 361466"/>
              <a:gd name="connsiteX401" fmla="*/ 155178 w 977755"/>
              <a:gd name="connsiteY401" fmla="*/ 100217 h 361466"/>
              <a:gd name="connsiteX402" fmla="*/ 156748 w 977755"/>
              <a:gd name="connsiteY402" fmla="*/ 96434 h 361466"/>
              <a:gd name="connsiteX403" fmla="*/ 158033 w 977755"/>
              <a:gd name="connsiteY403" fmla="*/ 94863 h 361466"/>
              <a:gd name="connsiteX404" fmla="*/ 163315 w 977755"/>
              <a:gd name="connsiteY404" fmla="*/ 92008 h 361466"/>
              <a:gd name="connsiteX405" fmla="*/ 165457 w 977755"/>
              <a:gd name="connsiteY405" fmla="*/ 91794 h 361466"/>
              <a:gd name="connsiteX406" fmla="*/ 322349 w 977755"/>
              <a:gd name="connsiteY406" fmla="*/ 89367 h 361466"/>
              <a:gd name="connsiteX407" fmla="*/ 329559 w 977755"/>
              <a:gd name="connsiteY407" fmla="*/ 91580 h 361466"/>
              <a:gd name="connsiteX408" fmla="*/ 335198 w 977755"/>
              <a:gd name="connsiteY408" fmla="*/ 102287 h 361466"/>
              <a:gd name="connsiteX409" fmla="*/ 329559 w 977755"/>
              <a:gd name="connsiteY409" fmla="*/ 112994 h 361466"/>
              <a:gd name="connsiteX410" fmla="*/ 322349 w 977755"/>
              <a:gd name="connsiteY410" fmla="*/ 115206 h 361466"/>
              <a:gd name="connsiteX411" fmla="*/ 319780 w 977755"/>
              <a:gd name="connsiteY411" fmla="*/ 114921 h 361466"/>
              <a:gd name="connsiteX412" fmla="*/ 309501 w 977755"/>
              <a:gd name="connsiteY412" fmla="*/ 102287 h 361466"/>
              <a:gd name="connsiteX413" fmla="*/ 319780 w 977755"/>
              <a:gd name="connsiteY413" fmla="*/ 89653 h 361466"/>
              <a:gd name="connsiteX414" fmla="*/ 322349 w 977755"/>
              <a:gd name="connsiteY414" fmla="*/ 89367 h 361466"/>
              <a:gd name="connsiteX415" fmla="*/ 400795 w 977755"/>
              <a:gd name="connsiteY415" fmla="*/ 88011 h 361466"/>
              <a:gd name="connsiteX416" fmla="*/ 415071 w 977755"/>
              <a:gd name="connsiteY416" fmla="*/ 102287 h 361466"/>
              <a:gd name="connsiteX417" fmla="*/ 400795 w 977755"/>
              <a:gd name="connsiteY417" fmla="*/ 116563 h 361466"/>
              <a:gd name="connsiteX418" fmla="*/ 386519 w 977755"/>
              <a:gd name="connsiteY418" fmla="*/ 102287 h 361466"/>
              <a:gd name="connsiteX419" fmla="*/ 400795 w 977755"/>
              <a:gd name="connsiteY419" fmla="*/ 88011 h 361466"/>
              <a:gd name="connsiteX420" fmla="*/ 557687 w 977755"/>
              <a:gd name="connsiteY420" fmla="*/ 84798 h 361466"/>
              <a:gd name="connsiteX421" fmla="*/ 575175 w 977755"/>
              <a:gd name="connsiteY421" fmla="*/ 102286 h 361466"/>
              <a:gd name="connsiteX422" fmla="*/ 557687 w 977755"/>
              <a:gd name="connsiteY422" fmla="*/ 119774 h 361466"/>
              <a:gd name="connsiteX423" fmla="*/ 540199 w 977755"/>
              <a:gd name="connsiteY423" fmla="*/ 102286 h 361466"/>
              <a:gd name="connsiteX424" fmla="*/ 557687 w 977755"/>
              <a:gd name="connsiteY424" fmla="*/ 84798 h 361466"/>
              <a:gd name="connsiteX425" fmla="*/ 636061 w 977755"/>
              <a:gd name="connsiteY425" fmla="*/ 82871 h 361466"/>
              <a:gd name="connsiteX426" fmla="*/ 652193 w 977755"/>
              <a:gd name="connsiteY426" fmla="*/ 91437 h 361466"/>
              <a:gd name="connsiteX427" fmla="*/ 655476 w 977755"/>
              <a:gd name="connsiteY427" fmla="*/ 102286 h 361466"/>
              <a:gd name="connsiteX428" fmla="*/ 652193 w 977755"/>
              <a:gd name="connsiteY428" fmla="*/ 113136 h 361466"/>
              <a:gd name="connsiteX429" fmla="*/ 636061 w 977755"/>
              <a:gd name="connsiteY429" fmla="*/ 121702 h 361466"/>
              <a:gd name="connsiteX430" fmla="*/ 632135 w 977755"/>
              <a:gd name="connsiteY430" fmla="*/ 121273 h 361466"/>
              <a:gd name="connsiteX431" fmla="*/ 622356 w 977755"/>
              <a:gd name="connsiteY431" fmla="*/ 115991 h 361466"/>
              <a:gd name="connsiteX432" fmla="*/ 620001 w 977755"/>
              <a:gd name="connsiteY432" fmla="*/ 113136 h 361466"/>
              <a:gd name="connsiteX433" fmla="*/ 617074 w 977755"/>
              <a:gd name="connsiteY433" fmla="*/ 106212 h 361466"/>
              <a:gd name="connsiteX434" fmla="*/ 616646 w 977755"/>
              <a:gd name="connsiteY434" fmla="*/ 102286 h 361466"/>
              <a:gd name="connsiteX435" fmla="*/ 617074 w 977755"/>
              <a:gd name="connsiteY435" fmla="*/ 98360 h 361466"/>
              <a:gd name="connsiteX436" fmla="*/ 620001 w 977755"/>
              <a:gd name="connsiteY436" fmla="*/ 91437 h 361466"/>
              <a:gd name="connsiteX437" fmla="*/ 622356 w 977755"/>
              <a:gd name="connsiteY437" fmla="*/ 88581 h 361466"/>
              <a:gd name="connsiteX438" fmla="*/ 632135 w 977755"/>
              <a:gd name="connsiteY438" fmla="*/ 83299 h 361466"/>
              <a:gd name="connsiteX439" fmla="*/ 636061 w 977755"/>
              <a:gd name="connsiteY439" fmla="*/ 82871 h 361466"/>
              <a:gd name="connsiteX440" fmla="*/ 793025 w 977755"/>
              <a:gd name="connsiteY440" fmla="*/ 78446 h 361466"/>
              <a:gd name="connsiteX441" fmla="*/ 806373 w 977755"/>
              <a:gd name="connsiteY441" fmla="*/ 82515 h 361466"/>
              <a:gd name="connsiteX442" fmla="*/ 816865 w 977755"/>
              <a:gd name="connsiteY442" fmla="*/ 102287 h 361466"/>
              <a:gd name="connsiteX443" fmla="*/ 806373 w 977755"/>
              <a:gd name="connsiteY443" fmla="*/ 122059 h 361466"/>
              <a:gd name="connsiteX444" fmla="*/ 793025 w 977755"/>
              <a:gd name="connsiteY444" fmla="*/ 126128 h 361466"/>
              <a:gd name="connsiteX445" fmla="*/ 788242 w 977755"/>
              <a:gd name="connsiteY445" fmla="*/ 125628 h 361466"/>
              <a:gd name="connsiteX446" fmla="*/ 769184 w 977755"/>
              <a:gd name="connsiteY446" fmla="*/ 102287 h 361466"/>
              <a:gd name="connsiteX447" fmla="*/ 788242 w 977755"/>
              <a:gd name="connsiteY447" fmla="*/ 78946 h 361466"/>
              <a:gd name="connsiteX448" fmla="*/ 793025 w 977755"/>
              <a:gd name="connsiteY448" fmla="*/ 78446 h 361466"/>
              <a:gd name="connsiteX449" fmla="*/ 871470 w 977755"/>
              <a:gd name="connsiteY449" fmla="*/ 75876 h 361466"/>
              <a:gd name="connsiteX450" fmla="*/ 897881 w 977755"/>
              <a:gd name="connsiteY450" fmla="*/ 102286 h 361466"/>
              <a:gd name="connsiteX451" fmla="*/ 871470 w 977755"/>
              <a:gd name="connsiteY451" fmla="*/ 128697 h 361466"/>
              <a:gd name="connsiteX452" fmla="*/ 845060 w 977755"/>
              <a:gd name="connsiteY452" fmla="*/ 102286 h 361466"/>
              <a:gd name="connsiteX453" fmla="*/ 871470 w 977755"/>
              <a:gd name="connsiteY453" fmla="*/ 75876 h 361466"/>
              <a:gd name="connsiteX454" fmla="*/ 47753 w 977755"/>
              <a:gd name="connsiteY454" fmla="*/ 54034 h 361466"/>
              <a:gd name="connsiteX455" fmla="*/ 56747 w 977755"/>
              <a:gd name="connsiteY455" fmla="*/ 63028 h 361466"/>
              <a:gd name="connsiteX456" fmla="*/ 47753 w 977755"/>
              <a:gd name="connsiteY456" fmla="*/ 72022 h 361466"/>
              <a:gd name="connsiteX457" fmla="*/ 38759 w 977755"/>
              <a:gd name="connsiteY457" fmla="*/ 63028 h 361466"/>
              <a:gd name="connsiteX458" fmla="*/ 47753 w 977755"/>
              <a:gd name="connsiteY458" fmla="*/ 54034 h 361466"/>
              <a:gd name="connsiteX459" fmla="*/ 126198 w 977755"/>
              <a:gd name="connsiteY459" fmla="*/ 53035 h 361466"/>
              <a:gd name="connsiteX460" fmla="*/ 136191 w 977755"/>
              <a:gd name="connsiteY460" fmla="*/ 63028 h 361466"/>
              <a:gd name="connsiteX461" fmla="*/ 126198 w 977755"/>
              <a:gd name="connsiteY461" fmla="*/ 73021 h 361466"/>
              <a:gd name="connsiteX462" fmla="*/ 116205 w 977755"/>
              <a:gd name="connsiteY462" fmla="*/ 63028 h 361466"/>
              <a:gd name="connsiteX463" fmla="*/ 126198 w 977755"/>
              <a:gd name="connsiteY463" fmla="*/ 53035 h 361466"/>
              <a:gd name="connsiteX464" fmla="*/ 283162 w 977755"/>
              <a:gd name="connsiteY464" fmla="*/ 50822 h 361466"/>
              <a:gd name="connsiteX465" fmla="*/ 295368 w 977755"/>
              <a:gd name="connsiteY465" fmla="*/ 63028 h 361466"/>
              <a:gd name="connsiteX466" fmla="*/ 283162 w 977755"/>
              <a:gd name="connsiteY466" fmla="*/ 75234 h 361466"/>
              <a:gd name="connsiteX467" fmla="*/ 270956 w 977755"/>
              <a:gd name="connsiteY467" fmla="*/ 63028 h 361466"/>
              <a:gd name="connsiteX468" fmla="*/ 283162 w 977755"/>
              <a:gd name="connsiteY468" fmla="*/ 50822 h 361466"/>
              <a:gd name="connsiteX469" fmla="*/ 361536 w 977755"/>
              <a:gd name="connsiteY469" fmla="*/ 49466 h 361466"/>
              <a:gd name="connsiteX470" fmla="*/ 375098 w 977755"/>
              <a:gd name="connsiteY470" fmla="*/ 63028 h 361466"/>
              <a:gd name="connsiteX471" fmla="*/ 361536 w 977755"/>
              <a:gd name="connsiteY471" fmla="*/ 76590 h 361466"/>
              <a:gd name="connsiteX472" fmla="*/ 347974 w 977755"/>
              <a:gd name="connsiteY472" fmla="*/ 63028 h 361466"/>
              <a:gd name="connsiteX473" fmla="*/ 361536 w 977755"/>
              <a:gd name="connsiteY473" fmla="*/ 49466 h 361466"/>
              <a:gd name="connsiteX474" fmla="*/ 518428 w 977755"/>
              <a:gd name="connsiteY474" fmla="*/ 46396 h 361466"/>
              <a:gd name="connsiteX475" fmla="*/ 535060 w 977755"/>
              <a:gd name="connsiteY475" fmla="*/ 63027 h 361466"/>
              <a:gd name="connsiteX476" fmla="*/ 518428 w 977755"/>
              <a:gd name="connsiteY476" fmla="*/ 79659 h 361466"/>
              <a:gd name="connsiteX477" fmla="*/ 501797 w 977755"/>
              <a:gd name="connsiteY477" fmla="*/ 63027 h 361466"/>
              <a:gd name="connsiteX478" fmla="*/ 518428 w 977755"/>
              <a:gd name="connsiteY478" fmla="*/ 46396 h 361466"/>
              <a:gd name="connsiteX479" fmla="*/ 596946 w 977755"/>
              <a:gd name="connsiteY479" fmla="*/ 44612 h 361466"/>
              <a:gd name="connsiteX480" fmla="*/ 615362 w 977755"/>
              <a:gd name="connsiteY480" fmla="*/ 63028 h 361466"/>
              <a:gd name="connsiteX481" fmla="*/ 596946 w 977755"/>
              <a:gd name="connsiteY481" fmla="*/ 81444 h 361466"/>
              <a:gd name="connsiteX482" fmla="*/ 578530 w 977755"/>
              <a:gd name="connsiteY482" fmla="*/ 63028 h 361466"/>
              <a:gd name="connsiteX483" fmla="*/ 596946 w 977755"/>
              <a:gd name="connsiteY483" fmla="*/ 44612 h 361466"/>
              <a:gd name="connsiteX484" fmla="*/ 753766 w 977755"/>
              <a:gd name="connsiteY484" fmla="*/ 40400 h 361466"/>
              <a:gd name="connsiteX485" fmla="*/ 776394 w 977755"/>
              <a:gd name="connsiteY485" fmla="*/ 63027 h 361466"/>
              <a:gd name="connsiteX486" fmla="*/ 753766 w 977755"/>
              <a:gd name="connsiteY486" fmla="*/ 85655 h 361466"/>
              <a:gd name="connsiteX487" fmla="*/ 731139 w 977755"/>
              <a:gd name="connsiteY487" fmla="*/ 63027 h 361466"/>
              <a:gd name="connsiteX488" fmla="*/ 753766 w 977755"/>
              <a:gd name="connsiteY488" fmla="*/ 40400 h 361466"/>
              <a:gd name="connsiteX489" fmla="*/ 832283 w 977755"/>
              <a:gd name="connsiteY489" fmla="*/ 37973 h 361466"/>
              <a:gd name="connsiteX490" fmla="*/ 857337 w 977755"/>
              <a:gd name="connsiteY490" fmla="*/ 63027 h 361466"/>
              <a:gd name="connsiteX491" fmla="*/ 832283 w 977755"/>
              <a:gd name="connsiteY491" fmla="*/ 88153 h 361466"/>
              <a:gd name="connsiteX492" fmla="*/ 807229 w 977755"/>
              <a:gd name="connsiteY492" fmla="*/ 63027 h 361466"/>
              <a:gd name="connsiteX493" fmla="*/ 832283 w 977755"/>
              <a:gd name="connsiteY493" fmla="*/ 37973 h 361466"/>
              <a:gd name="connsiteX494" fmla="*/ 8566 w 977755"/>
              <a:gd name="connsiteY494" fmla="*/ 15275 h 361466"/>
              <a:gd name="connsiteX495" fmla="*/ 15632 w 977755"/>
              <a:gd name="connsiteY495" fmla="*/ 19058 h 361466"/>
              <a:gd name="connsiteX496" fmla="*/ 17060 w 977755"/>
              <a:gd name="connsiteY496" fmla="*/ 23841 h 361466"/>
              <a:gd name="connsiteX497" fmla="*/ 16917 w 977755"/>
              <a:gd name="connsiteY497" fmla="*/ 25554 h 361466"/>
              <a:gd name="connsiteX498" fmla="*/ 15632 w 977755"/>
              <a:gd name="connsiteY498" fmla="*/ 28623 h 361466"/>
              <a:gd name="connsiteX499" fmla="*/ 8566 w 977755"/>
              <a:gd name="connsiteY499" fmla="*/ 32406 h 361466"/>
              <a:gd name="connsiteX500" fmla="*/ 6852 w 977755"/>
              <a:gd name="connsiteY500" fmla="*/ 32192 h 361466"/>
              <a:gd name="connsiteX501" fmla="*/ 2498 w 977755"/>
              <a:gd name="connsiteY501" fmla="*/ 29836 h 361466"/>
              <a:gd name="connsiteX502" fmla="*/ 1428 w 977755"/>
              <a:gd name="connsiteY502" fmla="*/ 28623 h 361466"/>
              <a:gd name="connsiteX503" fmla="*/ 143 w 977755"/>
              <a:gd name="connsiteY503" fmla="*/ 25554 h 361466"/>
              <a:gd name="connsiteX504" fmla="*/ 0 w 977755"/>
              <a:gd name="connsiteY504" fmla="*/ 23841 h 361466"/>
              <a:gd name="connsiteX505" fmla="*/ 143 w 977755"/>
              <a:gd name="connsiteY505" fmla="*/ 22127 h 361466"/>
              <a:gd name="connsiteX506" fmla="*/ 1428 w 977755"/>
              <a:gd name="connsiteY506" fmla="*/ 19058 h 361466"/>
              <a:gd name="connsiteX507" fmla="*/ 2498 w 977755"/>
              <a:gd name="connsiteY507" fmla="*/ 17773 h 361466"/>
              <a:gd name="connsiteX508" fmla="*/ 6852 w 977755"/>
              <a:gd name="connsiteY508" fmla="*/ 15418 h 361466"/>
              <a:gd name="connsiteX509" fmla="*/ 8566 w 977755"/>
              <a:gd name="connsiteY509" fmla="*/ 15275 h 361466"/>
              <a:gd name="connsiteX510" fmla="*/ 87011 w 977755"/>
              <a:gd name="connsiteY510" fmla="*/ 14347 h 361466"/>
              <a:gd name="connsiteX511" fmla="*/ 96505 w 977755"/>
              <a:gd name="connsiteY511" fmla="*/ 23840 h 361466"/>
              <a:gd name="connsiteX512" fmla="*/ 96291 w 977755"/>
              <a:gd name="connsiteY512" fmla="*/ 25768 h 361466"/>
              <a:gd name="connsiteX513" fmla="*/ 87011 w 977755"/>
              <a:gd name="connsiteY513" fmla="*/ 33334 h 361466"/>
              <a:gd name="connsiteX514" fmla="*/ 77732 w 977755"/>
              <a:gd name="connsiteY514" fmla="*/ 25768 h 361466"/>
              <a:gd name="connsiteX515" fmla="*/ 77518 w 977755"/>
              <a:gd name="connsiteY515" fmla="*/ 23840 h 361466"/>
              <a:gd name="connsiteX516" fmla="*/ 87011 w 977755"/>
              <a:gd name="connsiteY516" fmla="*/ 14347 h 361466"/>
              <a:gd name="connsiteX517" fmla="*/ 243832 w 977755"/>
              <a:gd name="connsiteY517" fmla="*/ 12205 h 361466"/>
              <a:gd name="connsiteX518" fmla="*/ 255467 w 977755"/>
              <a:gd name="connsiteY518" fmla="*/ 23840 h 361466"/>
              <a:gd name="connsiteX519" fmla="*/ 255253 w 977755"/>
              <a:gd name="connsiteY519" fmla="*/ 26195 h 361466"/>
              <a:gd name="connsiteX520" fmla="*/ 243832 w 977755"/>
              <a:gd name="connsiteY520" fmla="*/ 35475 h 361466"/>
              <a:gd name="connsiteX521" fmla="*/ 232411 w 977755"/>
              <a:gd name="connsiteY521" fmla="*/ 26195 h 361466"/>
              <a:gd name="connsiteX522" fmla="*/ 232197 w 977755"/>
              <a:gd name="connsiteY522" fmla="*/ 23840 h 361466"/>
              <a:gd name="connsiteX523" fmla="*/ 243832 w 977755"/>
              <a:gd name="connsiteY523" fmla="*/ 12205 h 361466"/>
              <a:gd name="connsiteX524" fmla="*/ 322349 w 977755"/>
              <a:gd name="connsiteY524" fmla="*/ 10921 h 361466"/>
              <a:gd name="connsiteX525" fmla="*/ 329559 w 977755"/>
              <a:gd name="connsiteY525" fmla="*/ 13134 h 361466"/>
              <a:gd name="connsiteX526" fmla="*/ 335198 w 977755"/>
              <a:gd name="connsiteY526" fmla="*/ 23841 h 361466"/>
              <a:gd name="connsiteX527" fmla="*/ 334912 w 977755"/>
              <a:gd name="connsiteY527" fmla="*/ 26410 h 361466"/>
              <a:gd name="connsiteX528" fmla="*/ 329559 w 977755"/>
              <a:gd name="connsiteY528" fmla="*/ 34476 h 361466"/>
              <a:gd name="connsiteX529" fmla="*/ 322349 w 977755"/>
              <a:gd name="connsiteY529" fmla="*/ 36689 h 361466"/>
              <a:gd name="connsiteX530" fmla="*/ 319780 w 977755"/>
              <a:gd name="connsiteY530" fmla="*/ 36404 h 361466"/>
              <a:gd name="connsiteX531" fmla="*/ 309787 w 977755"/>
              <a:gd name="connsiteY531" fmla="*/ 26410 h 361466"/>
              <a:gd name="connsiteX532" fmla="*/ 309501 w 977755"/>
              <a:gd name="connsiteY532" fmla="*/ 23841 h 361466"/>
              <a:gd name="connsiteX533" fmla="*/ 319780 w 977755"/>
              <a:gd name="connsiteY533" fmla="*/ 11207 h 361466"/>
              <a:gd name="connsiteX534" fmla="*/ 322349 w 977755"/>
              <a:gd name="connsiteY534" fmla="*/ 10921 h 361466"/>
              <a:gd name="connsiteX535" fmla="*/ 479098 w 977755"/>
              <a:gd name="connsiteY535" fmla="*/ 7994 h 361466"/>
              <a:gd name="connsiteX536" fmla="*/ 492232 w 977755"/>
              <a:gd name="connsiteY536" fmla="*/ 14989 h 361466"/>
              <a:gd name="connsiteX537" fmla="*/ 494944 w 977755"/>
              <a:gd name="connsiteY537" fmla="*/ 23840 h 361466"/>
              <a:gd name="connsiteX538" fmla="*/ 494659 w 977755"/>
              <a:gd name="connsiteY538" fmla="*/ 27052 h 361466"/>
              <a:gd name="connsiteX539" fmla="*/ 492303 w 977755"/>
              <a:gd name="connsiteY539" fmla="*/ 32691 h 361466"/>
              <a:gd name="connsiteX540" fmla="*/ 479098 w 977755"/>
              <a:gd name="connsiteY540" fmla="*/ 39615 h 361466"/>
              <a:gd name="connsiteX541" fmla="*/ 475886 w 977755"/>
              <a:gd name="connsiteY541" fmla="*/ 39258 h 361466"/>
              <a:gd name="connsiteX542" fmla="*/ 467891 w 977755"/>
              <a:gd name="connsiteY542" fmla="*/ 34975 h 361466"/>
              <a:gd name="connsiteX543" fmla="*/ 465964 w 977755"/>
              <a:gd name="connsiteY543" fmla="*/ 32620 h 361466"/>
              <a:gd name="connsiteX544" fmla="*/ 463608 w 977755"/>
              <a:gd name="connsiteY544" fmla="*/ 26981 h 361466"/>
              <a:gd name="connsiteX545" fmla="*/ 463323 w 977755"/>
              <a:gd name="connsiteY545" fmla="*/ 23769 h 361466"/>
              <a:gd name="connsiteX546" fmla="*/ 463608 w 977755"/>
              <a:gd name="connsiteY546" fmla="*/ 20557 h 361466"/>
              <a:gd name="connsiteX547" fmla="*/ 465964 w 977755"/>
              <a:gd name="connsiteY547" fmla="*/ 14918 h 361466"/>
              <a:gd name="connsiteX548" fmla="*/ 467891 w 977755"/>
              <a:gd name="connsiteY548" fmla="*/ 12562 h 361466"/>
              <a:gd name="connsiteX549" fmla="*/ 475886 w 977755"/>
              <a:gd name="connsiteY549" fmla="*/ 8280 h 361466"/>
              <a:gd name="connsiteX550" fmla="*/ 479098 w 977755"/>
              <a:gd name="connsiteY550" fmla="*/ 7994 h 361466"/>
              <a:gd name="connsiteX551" fmla="*/ 557687 w 977755"/>
              <a:gd name="connsiteY551" fmla="*/ 6352 h 361466"/>
              <a:gd name="connsiteX552" fmla="*/ 575175 w 977755"/>
              <a:gd name="connsiteY552" fmla="*/ 23840 h 361466"/>
              <a:gd name="connsiteX553" fmla="*/ 574818 w 977755"/>
              <a:gd name="connsiteY553" fmla="*/ 27338 h 361466"/>
              <a:gd name="connsiteX554" fmla="*/ 557687 w 977755"/>
              <a:gd name="connsiteY554" fmla="*/ 41328 h 361466"/>
              <a:gd name="connsiteX555" fmla="*/ 540556 w 977755"/>
              <a:gd name="connsiteY555" fmla="*/ 27338 h 361466"/>
              <a:gd name="connsiteX556" fmla="*/ 540199 w 977755"/>
              <a:gd name="connsiteY556" fmla="*/ 23840 h 361466"/>
              <a:gd name="connsiteX557" fmla="*/ 557687 w 977755"/>
              <a:gd name="connsiteY557" fmla="*/ 6352 h 361466"/>
              <a:gd name="connsiteX558" fmla="*/ 714579 w 977755"/>
              <a:gd name="connsiteY558" fmla="*/ 2284 h 361466"/>
              <a:gd name="connsiteX559" fmla="*/ 736064 w 977755"/>
              <a:gd name="connsiteY559" fmla="*/ 23769 h 361466"/>
              <a:gd name="connsiteX560" fmla="*/ 735636 w 977755"/>
              <a:gd name="connsiteY560" fmla="*/ 28123 h 361466"/>
              <a:gd name="connsiteX561" fmla="*/ 714579 w 977755"/>
              <a:gd name="connsiteY561" fmla="*/ 45326 h 361466"/>
              <a:gd name="connsiteX562" fmla="*/ 693522 w 977755"/>
              <a:gd name="connsiteY562" fmla="*/ 28123 h 361466"/>
              <a:gd name="connsiteX563" fmla="*/ 693094 w 977755"/>
              <a:gd name="connsiteY563" fmla="*/ 23769 h 361466"/>
              <a:gd name="connsiteX564" fmla="*/ 714579 w 977755"/>
              <a:gd name="connsiteY564" fmla="*/ 2284 h 361466"/>
              <a:gd name="connsiteX565" fmla="*/ 793025 w 977755"/>
              <a:gd name="connsiteY565" fmla="*/ 0 h 361466"/>
              <a:gd name="connsiteX566" fmla="*/ 806373 w 977755"/>
              <a:gd name="connsiteY566" fmla="*/ 4069 h 361466"/>
              <a:gd name="connsiteX567" fmla="*/ 816865 w 977755"/>
              <a:gd name="connsiteY567" fmla="*/ 23841 h 361466"/>
              <a:gd name="connsiteX568" fmla="*/ 816366 w 977755"/>
              <a:gd name="connsiteY568" fmla="*/ 28623 h 361466"/>
              <a:gd name="connsiteX569" fmla="*/ 806373 w 977755"/>
              <a:gd name="connsiteY569" fmla="*/ 43613 h 361466"/>
              <a:gd name="connsiteX570" fmla="*/ 793025 w 977755"/>
              <a:gd name="connsiteY570" fmla="*/ 47682 h 361466"/>
              <a:gd name="connsiteX571" fmla="*/ 788242 w 977755"/>
              <a:gd name="connsiteY571" fmla="*/ 47182 h 361466"/>
              <a:gd name="connsiteX572" fmla="*/ 769684 w 977755"/>
              <a:gd name="connsiteY572" fmla="*/ 28623 h 361466"/>
              <a:gd name="connsiteX573" fmla="*/ 769184 w 977755"/>
              <a:gd name="connsiteY573" fmla="*/ 23841 h 361466"/>
              <a:gd name="connsiteX574" fmla="*/ 788242 w 977755"/>
              <a:gd name="connsiteY574" fmla="*/ 500 h 361466"/>
              <a:gd name="connsiteX575" fmla="*/ 793025 w 977755"/>
              <a:gd name="connsiteY575" fmla="*/ 0 h 36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Lst>
            <a:rect l="l" t="t" r="r" b="b"/>
            <a:pathLst>
              <a:path w="977755" h="361466">
                <a:moveTo>
                  <a:pt x="8566" y="329059"/>
                </a:moveTo>
                <a:cubicBezTo>
                  <a:pt x="11492" y="329059"/>
                  <a:pt x="14062" y="330558"/>
                  <a:pt x="15632" y="332842"/>
                </a:cubicBezTo>
                <a:cubicBezTo>
                  <a:pt x="16489" y="334198"/>
                  <a:pt x="17060" y="335840"/>
                  <a:pt x="17060" y="337625"/>
                </a:cubicBezTo>
                <a:cubicBezTo>
                  <a:pt x="17060" y="338838"/>
                  <a:pt x="16846" y="339980"/>
                  <a:pt x="16417" y="340979"/>
                </a:cubicBezTo>
                <a:cubicBezTo>
                  <a:pt x="16203" y="341479"/>
                  <a:pt x="15918" y="341979"/>
                  <a:pt x="15632" y="342407"/>
                </a:cubicBezTo>
                <a:cubicBezTo>
                  <a:pt x="15347" y="342835"/>
                  <a:pt x="14990" y="343264"/>
                  <a:pt x="14633" y="343620"/>
                </a:cubicBezTo>
                <a:cubicBezTo>
                  <a:pt x="13062" y="345191"/>
                  <a:pt x="10921" y="346119"/>
                  <a:pt x="8566" y="346119"/>
                </a:cubicBezTo>
                <a:cubicBezTo>
                  <a:pt x="7994" y="346119"/>
                  <a:pt x="7423" y="346119"/>
                  <a:pt x="6852" y="345976"/>
                </a:cubicBezTo>
                <a:cubicBezTo>
                  <a:pt x="5139" y="345619"/>
                  <a:pt x="3640" y="344763"/>
                  <a:pt x="2498" y="343620"/>
                </a:cubicBezTo>
                <a:cubicBezTo>
                  <a:pt x="2070" y="343192"/>
                  <a:pt x="1713" y="342764"/>
                  <a:pt x="1428" y="342336"/>
                </a:cubicBezTo>
                <a:cubicBezTo>
                  <a:pt x="1142" y="341907"/>
                  <a:pt x="857" y="341408"/>
                  <a:pt x="642" y="340908"/>
                </a:cubicBezTo>
                <a:cubicBezTo>
                  <a:pt x="428" y="340408"/>
                  <a:pt x="286" y="339909"/>
                  <a:pt x="143" y="339338"/>
                </a:cubicBezTo>
                <a:cubicBezTo>
                  <a:pt x="71" y="338767"/>
                  <a:pt x="0" y="338196"/>
                  <a:pt x="0" y="337625"/>
                </a:cubicBezTo>
                <a:cubicBezTo>
                  <a:pt x="0" y="336982"/>
                  <a:pt x="71" y="336411"/>
                  <a:pt x="143" y="335911"/>
                </a:cubicBezTo>
                <a:cubicBezTo>
                  <a:pt x="357" y="334769"/>
                  <a:pt x="785" y="333770"/>
                  <a:pt x="1428" y="332842"/>
                </a:cubicBezTo>
                <a:cubicBezTo>
                  <a:pt x="1784" y="332342"/>
                  <a:pt x="2141" y="331914"/>
                  <a:pt x="2498" y="331557"/>
                </a:cubicBezTo>
                <a:cubicBezTo>
                  <a:pt x="3712" y="330344"/>
                  <a:pt x="5211" y="329559"/>
                  <a:pt x="6852" y="329202"/>
                </a:cubicBezTo>
                <a:cubicBezTo>
                  <a:pt x="7423" y="329130"/>
                  <a:pt x="7994" y="329059"/>
                  <a:pt x="8566" y="329059"/>
                </a:cubicBezTo>
                <a:close/>
                <a:moveTo>
                  <a:pt x="86939" y="328060"/>
                </a:moveTo>
                <a:cubicBezTo>
                  <a:pt x="92222" y="328060"/>
                  <a:pt x="96433" y="332343"/>
                  <a:pt x="96433" y="337554"/>
                </a:cubicBezTo>
                <a:cubicBezTo>
                  <a:pt x="96433" y="338910"/>
                  <a:pt x="96219" y="340123"/>
                  <a:pt x="95719" y="341265"/>
                </a:cubicBezTo>
                <a:cubicBezTo>
                  <a:pt x="95219" y="342407"/>
                  <a:pt x="94506" y="343407"/>
                  <a:pt x="93578" y="344263"/>
                </a:cubicBezTo>
                <a:cubicBezTo>
                  <a:pt x="91865" y="345976"/>
                  <a:pt x="89509" y="347047"/>
                  <a:pt x="86868" y="347047"/>
                </a:cubicBezTo>
                <a:cubicBezTo>
                  <a:pt x="84227" y="347047"/>
                  <a:pt x="81872" y="345976"/>
                  <a:pt x="80158" y="344263"/>
                </a:cubicBezTo>
                <a:cubicBezTo>
                  <a:pt x="79302" y="343407"/>
                  <a:pt x="78659" y="342407"/>
                  <a:pt x="78160" y="341265"/>
                </a:cubicBezTo>
                <a:cubicBezTo>
                  <a:pt x="77732" y="340123"/>
                  <a:pt x="77446" y="338838"/>
                  <a:pt x="77446" y="337554"/>
                </a:cubicBezTo>
                <a:cubicBezTo>
                  <a:pt x="77446" y="332271"/>
                  <a:pt x="81729" y="328060"/>
                  <a:pt x="86939" y="328060"/>
                </a:cubicBezTo>
                <a:close/>
                <a:moveTo>
                  <a:pt x="243903" y="325990"/>
                </a:moveTo>
                <a:cubicBezTo>
                  <a:pt x="250327" y="325990"/>
                  <a:pt x="255538" y="331201"/>
                  <a:pt x="255538" y="337625"/>
                </a:cubicBezTo>
                <a:cubicBezTo>
                  <a:pt x="255538" y="339195"/>
                  <a:pt x="255181" y="340766"/>
                  <a:pt x="254610" y="342122"/>
                </a:cubicBezTo>
                <a:cubicBezTo>
                  <a:pt x="253967" y="343478"/>
                  <a:pt x="253182" y="344763"/>
                  <a:pt x="252111" y="345834"/>
                </a:cubicBezTo>
                <a:cubicBezTo>
                  <a:pt x="250041" y="347975"/>
                  <a:pt x="247115" y="349260"/>
                  <a:pt x="243903" y="349260"/>
                </a:cubicBezTo>
                <a:cubicBezTo>
                  <a:pt x="240691" y="349260"/>
                  <a:pt x="237764" y="347904"/>
                  <a:pt x="235694" y="345834"/>
                </a:cubicBezTo>
                <a:cubicBezTo>
                  <a:pt x="234624" y="344763"/>
                  <a:pt x="233767" y="343478"/>
                  <a:pt x="233196" y="342122"/>
                </a:cubicBezTo>
                <a:cubicBezTo>
                  <a:pt x="232625" y="340766"/>
                  <a:pt x="232268" y="339195"/>
                  <a:pt x="232268" y="337625"/>
                </a:cubicBezTo>
                <a:cubicBezTo>
                  <a:pt x="232268" y="331201"/>
                  <a:pt x="237479" y="325990"/>
                  <a:pt x="243903" y="325990"/>
                </a:cubicBezTo>
                <a:close/>
                <a:moveTo>
                  <a:pt x="322349" y="324705"/>
                </a:moveTo>
                <a:cubicBezTo>
                  <a:pt x="324990" y="324705"/>
                  <a:pt x="327489" y="325562"/>
                  <a:pt x="329559" y="326918"/>
                </a:cubicBezTo>
                <a:cubicBezTo>
                  <a:pt x="332913" y="329273"/>
                  <a:pt x="335198" y="333199"/>
                  <a:pt x="335198" y="337625"/>
                </a:cubicBezTo>
                <a:cubicBezTo>
                  <a:pt x="335198" y="339409"/>
                  <a:pt x="334841" y="341051"/>
                  <a:pt x="334198" y="342621"/>
                </a:cubicBezTo>
                <a:cubicBezTo>
                  <a:pt x="333556" y="344120"/>
                  <a:pt x="332557" y="345548"/>
                  <a:pt x="331414" y="346690"/>
                </a:cubicBezTo>
                <a:cubicBezTo>
                  <a:pt x="330843" y="347261"/>
                  <a:pt x="330201" y="347832"/>
                  <a:pt x="329559" y="348260"/>
                </a:cubicBezTo>
                <a:cubicBezTo>
                  <a:pt x="327489" y="349688"/>
                  <a:pt x="324990" y="350473"/>
                  <a:pt x="322349" y="350473"/>
                </a:cubicBezTo>
                <a:cubicBezTo>
                  <a:pt x="321493" y="350473"/>
                  <a:pt x="320636" y="350330"/>
                  <a:pt x="319780" y="350188"/>
                </a:cubicBezTo>
                <a:cubicBezTo>
                  <a:pt x="317281" y="349688"/>
                  <a:pt x="314997" y="348403"/>
                  <a:pt x="313284" y="346690"/>
                </a:cubicBezTo>
                <a:cubicBezTo>
                  <a:pt x="312071" y="345548"/>
                  <a:pt x="311143" y="344192"/>
                  <a:pt x="310500" y="342621"/>
                </a:cubicBezTo>
                <a:cubicBezTo>
                  <a:pt x="309858" y="341122"/>
                  <a:pt x="309501" y="339409"/>
                  <a:pt x="309501" y="337625"/>
                </a:cubicBezTo>
                <a:cubicBezTo>
                  <a:pt x="309501" y="331415"/>
                  <a:pt x="313927" y="326204"/>
                  <a:pt x="319780" y="324990"/>
                </a:cubicBezTo>
                <a:cubicBezTo>
                  <a:pt x="320565" y="324776"/>
                  <a:pt x="321493" y="324705"/>
                  <a:pt x="322349" y="324705"/>
                </a:cubicBezTo>
                <a:close/>
                <a:moveTo>
                  <a:pt x="479098" y="321707"/>
                </a:moveTo>
                <a:cubicBezTo>
                  <a:pt x="484594" y="321707"/>
                  <a:pt x="489376" y="324491"/>
                  <a:pt x="492232" y="328702"/>
                </a:cubicBezTo>
                <a:cubicBezTo>
                  <a:pt x="493945" y="331272"/>
                  <a:pt x="494944" y="334270"/>
                  <a:pt x="494944" y="337553"/>
                </a:cubicBezTo>
                <a:cubicBezTo>
                  <a:pt x="494944" y="339695"/>
                  <a:pt x="494516" y="341836"/>
                  <a:pt x="493731" y="343692"/>
                </a:cubicBezTo>
                <a:cubicBezTo>
                  <a:pt x="493374" y="344691"/>
                  <a:pt x="492874" y="345548"/>
                  <a:pt x="492303" y="346404"/>
                </a:cubicBezTo>
                <a:cubicBezTo>
                  <a:pt x="491732" y="347261"/>
                  <a:pt x="491090" y="348046"/>
                  <a:pt x="490304" y="348760"/>
                </a:cubicBezTo>
                <a:cubicBezTo>
                  <a:pt x="487449" y="351615"/>
                  <a:pt x="483452" y="353400"/>
                  <a:pt x="479098" y="353400"/>
                </a:cubicBezTo>
                <a:cubicBezTo>
                  <a:pt x="477956" y="353400"/>
                  <a:pt x="476885" y="353257"/>
                  <a:pt x="475886" y="353043"/>
                </a:cubicBezTo>
                <a:cubicBezTo>
                  <a:pt x="472816" y="352472"/>
                  <a:pt x="470033" y="350901"/>
                  <a:pt x="467891" y="348760"/>
                </a:cubicBezTo>
                <a:cubicBezTo>
                  <a:pt x="467177" y="348046"/>
                  <a:pt x="466535" y="347261"/>
                  <a:pt x="465964" y="346404"/>
                </a:cubicBezTo>
                <a:cubicBezTo>
                  <a:pt x="465393" y="345548"/>
                  <a:pt x="464965" y="344620"/>
                  <a:pt x="464536" y="343692"/>
                </a:cubicBezTo>
                <a:cubicBezTo>
                  <a:pt x="464108" y="342693"/>
                  <a:pt x="463823" y="341693"/>
                  <a:pt x="463608" y="340694"/>
                </a:cubicBezTo>
                <a:cubicBezTo>
                  <a:pt x="463466" y="339623"/>
                  <a:pt x="463323" y="338553"/>
                  <a:pt x="463323" y="337482"/>
                </a:cubicBezTo>
                <a:cubicBezTo>
                  <a:pt x="463323" y="336340"/>
                  <a:pt x="463394" y="335269"/>
                  <a:pt x="463608" y="334270"/>
                </a:cubicBezTo>
                <a:cubicBezTo>
                  <a:pt x="464037" y="332200"/>
                  <a:pt x="464822" y="330344"/>
                  <a:pt x="465964" y="328631"/>
                </a:cubicBezTo>
                <a:cubicBezTo>
                  <a:pt x="466535" y="327774"/>
                  <a:pt x="467177" y="326989"/>
                  <a:pt x="467891" y="326275"/>
                </a:cubicBezTo>
                <a:cubicBezTo>
                  <a:pt x="470033" y="324134"/>
                  <a:pt x="472816" y="322635"/>
                  <a:pt x="475886" y="321993"/>
                </a:cubicBezTo>
                <a:cubicBezTo>
                  <a:pt x="476956" y="321850"/>
                  <a:pt x="478027" y="321707"/>
                  <a:pt x="479098" y="321707"/>
                </a:cubicBezTo>
                <a:close/>
                <a:moveTo>
                  <a:pt x="557687" y="320066"/>
                </a:moveTo>
                <a:cubicBezTo>
                  <a:pt x="567323" y="320066"/>
                  <a:pt x="575175" y="327918"/>
                  <a:pt x="575175" y="337554"/>
                </a:cubicBezTo>
                <a:cubicBezTo>
                  <a:pt x="575175" y="339981"/>
                  <a:pt x="574675" y="342336"/>
                  <a:pt x="573819" y="344406"/>
                </a:cubicBezTo>
                <a:cubicBezTo>
                  <a:pt x="572891" y="346476"/>
                  <a:pt x="571606" y="348404"/>
                  <a:pt x="570178" y="349974"/>
                </a:cubicBezTo>
                <a:cubicBezTo>
                  <a:pt x="566966" y="353115"/>
                  <a:pt x="562612" y="355113"/>
                  <a:pt x="557758" y="355113"/>
                </a:cubicBezTo>
                <a:cubicBezTo>
                  <a:pt x="552905" y="355113"/>
                  <a:pt x="548479" y="353115"/>
                  <a:pt x="545338" y="349974"/>
                </a:cubicBezTo>
                <a:cubicBezTo>
                  <a:pt x="543697" y="348404"/>
                  <a:pt x="542412" y="346476"/>
                  <a:pt x="541555" y="344406"/>
                </a:cubicBezTo>
                <a:cubicBezTo>
                  <a:pt x="540699" y="342265"/>
                  <a:pt x="540199" y="339981"/>
                  <a:pt x="540199" y="337554"/>
                </a:cubicBezTo>
                <a:cubicBezTo>
                  <a:pt x="540199" y="327918"/>
                  <a:pt x="548051" y="320066"/>
                  <a:pt x="557687" y="320066"/>
                </a:cubicBezTo>
                <a:close/>
                <a:moveTo>
                  <a:pt x="714579" y="316140"/>
                </a:moveTo>
                <a:cubicBezTo>
                  <a:pt x="726428" y="316140"/>
                  <a:pt x="736064" y="325776"/>
                  <a:pt x="736064" y="337625"/>
                </a:cubicBezTo>
                <a:cubicBezTo>
                  <a:pt x="736064" y="340552"/>
                  <a:pt x="735422" y="343407"/>
                  <a:pt x="734351" y="345977"/>
                </a:cubicBezTo>
                <a:cubicBezTo>
                  <a:pt x="733281" y="348546"/>
                  <a:pt x="731710" y="350830"/>
                  <a:pt x="729854" y="352829"/>
                </a:cubicBezTo>
                <a:cubicBezTo>
                  <a:pt x="726000" y="356684"/>
                  <a:pt x="720575" y="359111"/>
                  <a:pt x="714651" y="359111"/>
                </a:cubicBezTo>
                <a:cubicBezTo>
                  <a:pt x="708726" y="359111"/>
                  <a:pt x="703373" y="356755"/>
                  <a:pt x="699447" y="352829"/>
                </a:cubicBezTo>
                <a:cubicBezTo>
                  <a:pt x="697448" y="350902"/>
                  <a:pt x="695878" y="348546"/>
                  <a:pt x="694807" y="345977"/>
                </a:cubicBezTo>
                <a:cubicBezTo>
                  <a:pt x="693665" y="343407"/>
                  <a:pt x="693094" y="340623"/>
                  <a:pt x="693094" y="337625"/>
                </a:cubicBezTo>
                <a:cubicBezTo>
                  <a:pt x="693094" y="325776"/>
                  <a:pt x="702730" y="316140"/>
                  <a:pt x="714579" y="316140"/>
                </a:cubicBezTo>
                <a:close/>
                <a:moveTo>
                  <a:pt x="793025" y="313784"/>
                </a:moveTo>
                <a:cubicBezTo>
                  <a:pt x="797950" y="313784"/>
                  <a:pt x="802590" y="315283"/>
                  <a:pt x="806373" y="317853"/>
                </a:cubicBezTo>
                <a:cubicBezTo>
                  <a:pt x="812725" y="322135"/>
                  <a:pt x="816865" y="329416"/>
                  <a:pt x="816865" y="337625"/>
                </a:cubicBezTo>
                <a:cubicBezTo>
                  <a:pt x="816865" y="340908"/>
                  <a:pt x="816223" y="344049"/>
                  <a:pt x="815010" y="346904"/>
                </a:cubicBezTo>
                <a:cubicBezTo>
                  <a:pt x="813796" y="349759"/>
                  <a:pt x="812012" y="352329"/>
                  <a:pt x="809870" y="354470"/>
                </a:cubicBezTo>
                <a:cubicBezTo>
                  <a:pt x="808800" y="355541"/>
                  <a:pt x="807586" y="356469"/>
                  <a:pt x="806373" y="357397"/>
                </a:cubicBezTo>
                <a:cubicBezTo>
                  <a:pt x="802518" y="359967"/>
                  <a:pt x="797950" y="361466"/>
                  <a:pt x="793025" y="361466"/>
                </a:cubicBezTo>
                <a:cubicBezTo>
                  <a:pt x="791383" y="361466"/>
                  <a:pt x="789813" y="361251"/>
                  <a:pt x="788242" y="360966"/>
                </a:cubicBezTo>
                <a:cubicBezTo>
                  <a:pt x="783603" y="360038"/>
                  <a:pt x="779391" y="357682"/>
                  <a:pt x="776179" y="354470"/>
                </a:cubicBezTo>
                <a:cubicBezTo>
                  <a:pt x="773966" y="352329"/>
                  <a:pt x="772253" y="349759"/>
                  <a:pt x="771040" y="346904"/>
                </a:cubicBezTo>
                <a:cubicBezTo>
                  <a:pt x="769826" y="344049"/>
                  <a:pt x="769184" y="340908"/>
                  <a:pt x="769184" y="337625"/>
                </a:cubicBezTo>
                <a:cubicBezTo>
                  <a:pt x="769184" y="326133"/>
                  <a:pt x="777393" y="316496"/>
                  <a:pt x="788242" y="314284"/>
                </a:cubicBezTo>
                <a:cubicBezTo>
                  <a:pt x="789741" y="313927"/>
                  <a:pt x="791383" y="313784"/>
                  <a:pt x="793025" y="313784"/>
                </a:cubicBezTo>
                <a:close/>
                <a:moveTo>
                  <a:pt x="47753" y="289372"/>
                </a:moveTo>
                <a:cubicBezTo>
                  <a:pt x="52749" y="289372"/>
                  <a:pt x="56747" y="293369"/>
                  <a:pt x="56747" y="298366"/>
                </a:cubicBezTo>
                <a:cubicBezTo>
                  <a:pt x="56747" y="303362"/>
                  <a:pt x="52749" y="307360"/>
                  <a:pt x="47753" y="307360"/>
                </a:cubicBezTo>
                <a:cubicBezTo>
                  <a:pt x="42756" y="307360"/>
                  <a:pt x="38759" y="303362"/>
                  <a:pt x="38759" y="298366"/>
                </a:cubicBezTo>
                <a:cubicBezTo>
                  <a:pt x="38759" y="293369"/>
                  <a:pt x="42756" y="289372"/>
                  <a:pt x="47753" y="289372"/>
                </a:cubicBezTo>
                <a:close/>
                <a:moveTo>
                  <a:pt x="126198" y="288373"/>
                </a:moveTo>
                <a:cubicBezTo>
                  <a:pt x="131694" y="288373"/>
                  <a:pt x="136191" y="292870"/>
                  <a:pt x="136191" y="298366"/>
                </a:cubicBezTo>
                <a:cubicBezTo>
                  <a:pt x="136191" y="303862"/>
                  <a:pt x="131694" y="308359"/>
                  <a:pt x="126198" y="308359"/>
                </a:cubicBezTo>
                <a:cubicBezTo>
                  <a:pt x="120631" y="308359"/>
                  <a:pt x="116205" y="303862"/>
                  <a:pt x="116205" y="298366"/>
                </a:cubicBezTo>
                <a:cubicBezTo>
                  <a:pt x="116205" y="292799"/>
                  <a:pt x="120702" y="288373"/>
                  <a:pt x="126198" y="288373"/>
                </a:cubicBezTo>
                <a:close/>
                <a:moveTo>
                  <a:pt x="283162" y="286160"/>
                </a:moveTo>
                <a:cubicBezTo>
                  <a:pt x="289872" y="286160"/>
                  <a:pt x="295368" y="291585"/>
                  <a:pt x="295368" y="298366"/>
                </a:cubicBezTo>
                <a:cubicBezTo>
                  <a:pt x="295368" y="305147"/>
                  <a:pt x="289872" y="310572"/>
                  <a:pt x="283162" y="310572"/>
                </a:cubicBezTo>
                <a:cubicBezTo>
                  <a:pt x="276452" y="310572"/>
                  <a:pt x="270956" y="305147"/>
                  <a:pt x="270956" y="298366"/>
                </a:cubicBezTo>
                <a:cubicBezTo>
                  <a:pt x="270956" y="291656"/>
                  <a:pt x="276381" y="286160"/>
                  <a:pt x="283162" y="286160"/>
                </a:cubicBezTo>
                <a:close/>
                <a:moveTo>
                  <a:pt x="361536" y="284804"/>
                </a:moveTo>
                <a:cubicBezTo>
                  <a:pt x="369031" y="284804"/>
                  <a:pt x="375098" y="290871"/>
                  <a:pt x="375098" y="298366"/>
                </a:cubicBezTo>
                <a:cubicBezTo>
                  <a:pt x="375098" y="305861"/>
                  <a:pt x="369031" y="311928"/>
                  <a:pt x="361536" y="311928"/>
                </a:cubicBezTo>
                <a:cubicBezTo>
                  <a:pt x="354041" y="311928"/>
                  <a:pt x="347974" y="305861"/>
                  <a:pt x="347974" y="298366"/>
                </a:cubicBezTo>
                <a:cubicBezTo>
                  <a:pt x="347974" y="290871"/>
                  <a:pt x="354041" y="284804"/>
                  <a:pt x="361536" y="284804"/>
                </a:cubicBezTo>
                <a:close/>
                <a:moveTo>
                  <a:pt x="518428" y="281735"/>
                </a:moveTo>
                <a:cubicBezTo>
                  <a:pt x="527636" y="281735"/>
                  <a:pt x="535060" y="289158"/>
                  <a:pt x="535060" y="298366"/>
                </a:cubicBezTo>
                <a:cubicBezTo>
                  <a:pt x="535060" y="307574"/>
                  <a:pt x="527636" y="314998"/>
                  <a:pt x="518428" y="314998"/>
                </a:cubicBezTo>
                <a:cubicBezTo>
                  <a:pt x="509220" y="314998"/>
                  <a:pt x="501797" y="307574"/>
                  <a:pt x="501797" y="298366"/>
                </a:cubicBezTo>
                <a:cubicBezTo>
                  <a:pt x="501797" y="289158"/>
                  <a:pt x="509220" y="281735"/>
                  <a:pt x="518428" y="281735"/>
                </a:cubicBezTo>
                <a:close/>
                <a:moveTo>
                  <a:pt x="596946" y="279950"/>
                </a:moveTo>
                <a:cubicBezTo>
                  <a:pt x="607082" y="279950"/>
                  <a:pt x="615362" y="288159"/>
                  <a:pt x="615362" y="298366"/>
                </a:cubicBezTo>
                <a:cubicBezTo>
                  <a:pt x="615362" y="308573"/>
                  <a:pt x="607082" y="316782"/>
                  <a:pt x="596946" y="316782"/>
                </a:cubicBezTo>
                <a:cubicBezTo>
                  <a:pt x="586810" y="316782"/>
                  <a:pt x="578530" y="308573"/>
                  <a:pt x="578530" y="298366"/>
                </a:cubicBezTo>
                <a:cubicBezTo>
                  <a:pt x="578530" y="288230"/>
                  <a:pt x="586739" y="279950"/>
                  <a:pt x="596946" y="279950"/>
                </a:cubicBezTo>
                <a:close/>
                <a:moveTo>
                  <a:pt x="753766" y="275739"/>
                </a:moveTo>
                <a:cubicBezTo>
                  <a:pt x="766258" y="275739"/>
                  <a:pt x="776394" y="285875"/>
                  <a:pt x="776394" y="298366"/>
                </a:cubicBezTo>
                <a:cubicBezTo>
                  <a:pt x="776394" y="310858"/>
                  <a:pt x="766258" y="320994"/>
                  <a:pt x="753766" y="320994"/>
                </a:cubicBezTo>
                <a:cubicBezTo>
                  <a:pt x="741275" y="320994"/>
                  <a:pt x="731139" y="310858"/>
                  <a:pt x="731139" y="298366"/>
                </a:cubicBezTo>
                <a:cubicBezTo>
                  <a:pt x="731139" y="285875"/>
                  <a:pt x="741275" y="275739"/>
                  <a:pt x="753766" y="275739"/>
                </a:cubicBezTo>
                <a:close/>
                <a:moveTo>
                  <a:pt x="832283" y="273241"/>
                </a:moveTo>
                <a:cubicBezTo>
                  <a:pt x="846131" y="273241"/>
                  <a:pt x="857337" y="284519"/>
                  <a:pt x="857337" y="298367"/>
                </a:cubicBezTo>
                <a:cubicBezTo>
                  <a:pt x="857337" y="312214"/>
                  <a:pt x="846059" y="323421"/>
                  <a:pt x="832283" y="323421"/>
                </a:cubicBezTo>
                <a:cubicBezTo>
                  <a:pt x="818436" y="323421"/>
                  <a:pt x="807229" y="312214"/>
                  <a:pt x="807229" y="298367"/>
                </a:cubicBezTo>
                <a:cubicBezTo>
                  <a:pt x="807229" y="284448"/>
                  <a:pt x="818436" y="273241"/>
                  <a:pt x="832283" y="273241"/>
                </a:cubicBezTo>
                <a:close/>
                <a:moveTo>
                  <a:pt x="86939" y="249685"/>
                </a:moveTo>
                <a:cubicBezTo>
                  <a:pt x="92222" y="249685"/>
                  <a:pt x="96433" y="253968"/>
                  <a:pt x="96433" y="259179"/>
                </a:cubicBezTo>
                <a:cubicBezTo>
                  <a:pt x="96433" y="264389"/>
                  <a:pt x="92222" y="268601"/>
                  <a:pt x="86939" y="268672"/>
                </a:cubicBezTo>
                <a:cubicBezTo>
                  <a:pt x="81657" y="268672"/>
                  <a:pt x="77446" y="264389"/>
                  <a:pt x="77446" y="259179"/>
                </a:cubicBezTo>
                <a:cubicBezTo>
                  <a:pt x="77446" y="253896"/>
                  <a:pt x="81729" y="249685"/>
                  <a:pt x="86939" y="249685"/>
                </a:cubicBezTo>
                <a:close/>
                <a:moveTo>
                  <a:pt x="165457" y="248686"/>
                </a:moveTo>
                <a:cubicBezTo>
                  <a:pt x="169097" y="248686"/>
                  <a:pt x="172309" y="250542"/>
                  <a:pt x="174165" y="253326"/>
                </a:cubicBezTo>
                <a:cubicBezTo>
                  <a:pt x="175307" y="254967"/>
                  <a:pt x="175950" y="257037"/>
                  <a:pt x="175950" y="259179"/>
                </a:cubicBezTo>
                <a:cubicBezTo>
                  <a:pt x="175950" y="261320"/>
                  <a:pt x="175307" y="263390"/>
                  <a:pt x="174165" y="265032"/>
                </a:cubicBezTo>
                <a:cubicBezTo>
                  <a:pt x="172238" y="267816"/>
                  <a:pt x="169026" y="269672"/>
                  <a:pt x="165457" y="269814"/>
                </a:cubicBezTo>
                <a:cubicBezTo>
                  <a:pt x="164672" y="269814"/>
                  <a:pt x="164029" y="269743"/>
                  <a:pt x="163315" y="269600"/>
                </a:cubicBezTo>
                <a:cubicBezTo>
                  <a:pt x="161317" y="269172"/>
                  <a:pt x="159461" y="268173"/>
                  <a:pt x="158033" y="266745"/>
                </a:cubicBezTo>
                <a:cubicBezTo>
                  <a:pt x="157534" y="266245"/>
                  <a:pt x="157105" y="265746"/>
                  <a:pt x="156748" y="265175"/>
                </a:cubicBezTo>
                <a:cubicBezTo>
                  <a:pt x="156035" y="264033"/>
                  <a:pt x="155464" y="262748"/>
                  <a:pt x="155178" y="261392"/>
                </a:cubicBezTo>
                <a:cubicBezTo>
                  <a:pt x="155035" y="260678"/>
                  <a:pt x="154964" y="259964"/>
                  <a:pt x="154964" y="259250"/>
                </a:cubicBezTo>
                <a:cubicBezTo>
                  <a:pt x="154964" y="258465"/>
                  <a:pt x="155035" y="257823"/>
                  <a:pt x="155178" y="257109"/>
                </a:cubicBezTo>
                <a:cubicBezTo>
                  <a:pt x="155464" y="255681"/>
                  <a:pt x="155963" y="254468"/>
                  <a:pt x="156748" y="253326"/>
                </a:cubicBezTo>
                <a:cubicBezTo>
                  <a:pt x="157105" y="252755"/>
                  <a:pt x="157534" y="252255"/>
                  <a:pt x="158033" y="251755"/>
                </a:cubicBezTo>
                <a:cubicBezTo>
                  <a:pt x="159461" y="250328"/>
                  <a:pt x="161245" y="249328"/>
                  <a:pt x="163315" y="248900"/>
                </a:cubicBezTo>
                <a:cubicBezTo>
                  <a:pt x="164029" y="248757"/>
                  <a:pt x="164743" y="248686"/>
                  <a:pt x="165457" y="248686"/>
                </a:cubicBezTo>
                <a:close/>
                <a:moveTo>
                  <a:pt x="322349" y="246259"/>
                </a:moveTo>
                <a:cubicBezTo>
                  <a:pt x="324990" y="246259"/>
                  <a:pt x="327489" y="247116"/>
                  <a:pt x="329559" y="248472"/>
                </a:cubicBezTo>
                <a:cubicBezTo>
                  <a:pt x="332913" y="250827"/>
                  <a:pt x="335198" y="254753"/>
                  <a:pt x="335198" y="259179"/>
                </a:cubicBezTo>
                <a:cubicBezTo>
                  <a:pt x="335198" y="263604"/>
                  <a:pt x="332985" y="267530"/>
                  <a:pt x="329559" y="269886"/>
                </a:cubicBezTo>
                <a:cubicBezTo>
                  <a:pt x="327489" y="271313"/>
                  <a:pt x="324990" y="272098"/>
                  <a:pt x="322349" y="272098"/>
                </a:cubicBezTo>
                <a:cubicBezTo>
                  <a:pt x="321493" y="272098"/>
                  <a:pt x="320636" y="271956"/>
                  <a:pt x="319780" y="271813"/>
                </a:cubicBezTo>
                <a:cubicBezTo>
                  <a:pt x="313927" y="270599"/>
                  <a:pt x="309501" y="265389"/>
                  <a:pt x="309501" y="259179"/>
                </a:cubicBezTo>
                <a:cubicBezTo>
                  <a:pt x="309501" y="252969"/>
                  <a:pt x="313927" y="247758"/>
                  <a:pt x="319780" y="246545"/>
                </a:cubicBezTo>
                <a:cubicBezTo>
                  <a:pt x="320565" y="246330"/>
                  <a:pt x="321493" y="246259"/>
                  <a:pt x="322349" y="246259"/>
                </a:cubicBezTo>
                <a:close/>
                <a:moveTo>
                  <a:pt x="400795" y="244903"/>
                </a:moveTo>
                <a:cubicBezTo>
                  <a:pt x="408718" y="244903"/>
                  <a:pt x="415071" y="251327"/>
                  <a:pt x="415071" y="259179"/>
                </a:cubicBezTo>
                <a:cubicBezTo>
                  <a:pt x="415071" y="267031"/>
                  <a:pt x="408647" y="273455"/>
                  <a:pt x="400795" y="273455"/>
                </a:cubicBezTo>
                <a:cubicBezTo>
                  <a:pt x="392943" y="273455"/>
                  <a:pt x="386519" y="267031"/>
                  <a:pt x="386519" y="259179"/>
                </a:cubicBezTo>
                <a:cubicBezTo>
                  <a:pt x="386519" y="251256"/>
                  <a:pt x="392943" y="244903"/>
                  <a:pt x="400795" y="244903"/>
                </a:cubicBezTo>
                <a:close/>
                <a:moveTo>
                  <a:pt x="557687" y="241691"/>
                </a:moveTo>
                <a:cubicBezTo>
                  <a:pt x="567323" y="241691"/>
                  <a:pt x="575175" y="249543"/>
                  <a:pt x="575175" y="259179"/>
                </a:cubicBezTo>
                <a:cubicBezTo>
                  <a:pt x="575175" y="268815"/>
                  <a:pt x="567323" y="276667"/>
                  <a:pt x="557687" y="276667"/>
                </a:cubicBezTo>
                <a:cubicBezTo>
                  <a:pt x="548051" y="276667"/>
                  <a:pt x="540199" y="268815"/>
                  <a:pt x="540199" y="259179"/>
                </a:cubicBezTo>
                <a:cubicBezTo>
                  <a:pt x="540199" y="249543"/>
                  <a:pt x="548051" y="241691"/>
                  <a:pt x="557687" y="241691"/>
                </a:cubicBezTo>
                <a:close/>
                <a:moveTo>
                  <a:pt x="636061" y="239764"/>
                </a:moveTo>
                <a:cubicBezTo>
                  <a:pt x="642771" y="239764"/>
                  <a:pt x="648695" y="243190"/>
                  <a:pt x="652193" y="248330"/>
                </a:cubicBezTo>
                <a:cubicBezTo>
                  <a:pt x="654263" y="251399"/>
                  <a:pt x="655476" y="255182"/>
                  <a:pt x="655476" y="259179"/>
                </a:cubicBezTo>
                <a:cubicBezTo>
                  <a:pt x="655476" y="263177"/>
                  <a:pt x="654263" y="266960"/>
                  <a:pt x="652193" y="270029"/>
                </a:cubicBezTo>
                <a:cubicBezTo>
                  <a:pt x="648695" y="275168"/>
                  <a:pt x="642842" y="278594"/>
                  <a:pt x="636061" y="278594"/>
                </a:cubicBezTo>
                <a:cubicBezTo>
                  <a:pt x="634705" y="278594"/>
                  <a:pt x="633420" y="278452"/>
                  <a:pt x="632135" y="278166"/>
                </a:cubicBezTo>
                <a:cubicBezTo>
                  <a:pt x="628352" y="277381"/>
                  <a:pt x="624997" y="275525"/>
                  <a:pt x="622356" y="272884"/>
                </a:cubicBezTo>
                <a:cubicBezTo>
                  <a:pt x="621500" y="272028"/>
                  <a:pt x="620715" y="271028"/>
                  <a:pt x="620001" y="270029"/>
                </a:cubicBezTo>
                <a:cubicBezTo>
                  <a:pt x="618573" y="267959"/>
                  <a:pt x="617574" y="265603"/>
                  <a:pt x="617074" y="263105"/>
                </a:cubicBezTo>
                <a:cubicBezTo>
                  <a:pt x="616789" y="261820"/>
                  <a:pt x="616646" y="260535"/>
                  <a:pt x="616646" y="259179"/>
                </a:cubicBezTo>
                <a:cubicBezTo>
                  <a:pt x="616646" y="257823"/>
                  <a:pt x="616789" y="256538"/>
                  <a:pt x="617074" y="255253"/>
                </a:cubicBezTo>
                <a:cubicBezTo>
                  <a:pt x="617574" y="252755"/>
                  <a:pt x="618573" y="250400"/>
                  <a:pt x="620001" y="248330"/>
                </a:cubicBezTo>
                <a:cubicBezTo>
                  <a:pt x="620715" y="247330"/>
                  <a:pt x="621500" y="246331"/>
                  <a:pt x="622356" y="245474"/>
                </a:cubicBezTo>
                <a:cubicBezTo>
                  <a:pt x="624926" y="242833"/>
                  <a:pt x="628352" y="240977"/>
                  <a:pt x="632135" y="240192"/>
                </a:cubicBezTo>
                <a:cubicBezTo>
                  <a:pt x="633420" y="239907"/>
                  <a:pt x="634705" y="239764"/>
                  <a:pt x="636061" y="239764"/>
                </a:cubicBezTo>
                <a:close/>
                <a:moveTo>
                  <a:pt x="793025" y="235338"/>
                </a:moveTo>
                <a:cubicBezTo>
                  <a:pt x="797950" y="235338"/>
                  <a:pt x="802590" y="236837"/>
                  <a:pt x="806373" y="239407"/>
                </a:cubicBezTo>
                <a:cubicBezTo>
                  <a:pt x="812725" y="243689"/>
                  <a:pt x="816865" y="250970"/>
                  <a:pt x="816865" y="259179"/>
                </a:cubicBezTo>
                <a:cubicBezTo>
                  <a:pt x="816865" y="267387"/>
                  <a:pt x="812654" y="274597"/>
                  <a:pt x="806373" y="278951"/>
                </a:cubicBezTo>
                <a:cubicBezTo>
                  <a:pt x="802518" y="281521"/>
                  <a:pt x="797950" y="283020"/>
                  <a:pt x="793025" y="283020"/>
                </a:cubicBezTo>
                <a:cubicBezTo>
                  <a:pt x="791383" y="283020"/>
                  <a:pt x="789813" y="282805"/>
                  <a:pt x="788242" y="282520"/>
                </a:cubicBezTo>
                <a:cubicBezTo>
                  <a:pt x="777321" y="280307"/>
                  <a:pt x="769184" y="270671"/>
                  <a:pt x="769184" y="259179"/>
                </a:cubicBezTo>
                <a:cubicBezTo>
                  <a:pt x="769184" y="247687"/>
                  <a:pt x="777393" y="238050"/>
                  <a:pt x="788242" y="235838"/>
                </a:cubicBezTo>
                <a:cubicBezTo>
                  <a:pt x="789741" y="235481"/>
                  <a:pt x="791383" y="235338"/>
                  <a:pt x="793025" y="235338"/>
                </a:cubicBezTo>
                <a:close/>
                <a:moveTo>
                  <a:pt x="871470" y="232768"/>
                </a:moveTo>
                <a:cubicBezTo>
                  <a:pt x="886032" y="232768"/>
                  <a:pt x="897881" y="244617"/>
                  <a:pt x="897881" y="259178"/>
                </a:cubicBezTo>
                <a:cubicBezTo>
                  <a:pt x="897881" y="273740"/>
                  <a:pt x="886032" y="285589"/>
                  <a:pt x="871470" y="285589"/>
                </a:cubicBezTo>
                <a:cubicBezTo>
                  <a:pt x="856909" y="285589"/>
                  <a:pt x="845060" y="273740"/>
                  <a:pt x="845060" y="259178"/>
                </a:cubicBezTo>
                <a:cubicBezTo>
                  <a:pt x="845060" y="244617"/>
                  <a:pt x="856909" y="232768"/>
                  <a:pt x="871470" y="232768"/>
                </a:cubicBezTo>
                <a:close/>
                <a:moveTo>
                  <a:pt x="126198" y="209927"/>
                </a:moveTo>
                <a:cubicBezTo>
                  <a:pt x="131694" y="209927"/>
                  <a:pt x="136191" y="214424"/>
                  <a:pt x="136191" y="219920"/>
                </a:cubicBezTo>
                <a:cubicBezTo>
                  <a:pt x="136191" y="225416"/>
                  <a:pt x="131694" y="229913"/>
                  <a:pt x="126198" y="229913"/>
                </a:cubicBezTo>
                <a:cubicBezTo>
                  <a:pt x="120631" y="229913"/>
                  <a:pt x="116205" y="225416"/>
                  <a:pt x="116205" y="219920"/>
                </a:cubicBezTo>
                <a:cubicBezTo>
                  <a:pt x="116205" y="214353"/>
                  <a:pt x="120702" y="209927"/>
                  <a:pt x="126198" y="209927"/>
                </a:cubicBezTo>
                <a:close/>
                <a:moveTo>
                  <a:pt x="204644" y="208856"/>
                </a:moveTo>
                <a:cubicBezTo>
                  <a:pt x="210782" y="208856"/>
                  <a:pt x="215708" y="213853"/>
                  <a:pt x="215708" y="219920"/>
                </a:cubicBezTo>
                <a:cubicBezTo>
                  <a:pt x="215708" y="226058"/>
                  <a:pt x="210782" y="230984"/>
                  <a:pt x="204644" y="230984"/>
                </a:cubicBezTo>
                <a:cubicBezTo>
                  <a:pt x="198505" y="230984"/>
                  <a:pt x="193580" y="225987"/>
                  <a:pt x="193580" y="219920"/>
                </a:cubicBezTo>
                <a:cubicBezTo>
                  <a:pt x="193580" y="213781"/>
                  <a:pt x="198577" y="208856"/>
                  <a:pt x="204644" y="208856"/>
                </a:cubicBezTo>
                <a:close/>
                <a:moveTo>
                  <a:pt x="361536" y="206358"/>
                </a:moveTo>
                <a:cubicBezTo>
                  <a:pt x="369031" y="206358"/>
                  <a:pt x="375098" y="212425"/>
                  <a:pt x="375098" y="219920"/>
                </a:cubicBezTo>
                <a:cubicBezTo>
                  <a:pt x="375098" y="227415"/>
                  <a:pt x="369031" y="233482"/>
                  <a:pt x="361536" y="233482"/>
                </a:cubicBezTo>
                <a:cubicBezTo>
                  <a:pt x="354041" y="233482"/>
                  <a:pt x="347974" y="227415"/>
                  <a:pt x="347974" y="219920"/>
                </a:cubicBezTo>
                <a:cubicBezTo>
                  <a:pt x="347974" y="212425"/>
                  <a:pt x="354041" y="206358"/>
                  <a:pt x="361536" y="206358"/>
                </a:cubicBezTo>
                <a:close/>
                <a:moveTo>
                  <a:pt x="440054" y="204930"/>
                </a:moveTo>
                <a:cubicBezTo>
                  <a:pt x="448334" y="204930"/>
                  <a:pt x="455043" y="211640"/>
                  <a:pt x="455043" y="219920"/>
                </a:cubicBezTo>
                <a:cubicBezTo>
                  <a:pt x="455043" y="228200"/>
                  <a:pt x="448262" y="234981"/>
                  <a:pt x="440054" y="234909"/>
                </a:cubicBezTo>
                <a:cubicBezTo>
                  <a:pt x="431774" y="234909"/>
                  <a:pt x="425064" y="228200"/>
                  <a:pt x="425064" y="219920"/>
                </a:cubicBezTo>
                <a:cubicBezTo>
                  <a:pt x="425064" y="211640"/>
                  <a:pt x="431774" y="204930"/>
                  <a:pt x="440054" y="204930"/>
                </a:cubicBezTo>
                <a:close/>
                <a:moveTo>
                  <a:pt x="596946" y="201504"/>
                </a:moveTo>
                <a:cubicBezTo>
                  <a:pt x="607082" y="201504"/>
                  <a:pt x="615362" y="209713"/>
                  <a:pt x="615362" y="219920"/>
                </a:cubicBezTo>
                <a:cubicBezTo>
                  <a:pt x="615362" y="230127"/>
                  <a:pt x="607082" y="238407"/>
                  <a:pt x="596946" y="238336"/>
                </a:cubicBezTo>
                <a:cubicBezTo>
                  <a:pt x="586810" y="238336"/>
                  <a:pt x="578530" y="230127"/>
                  <a:pt x="578530" y="219920"/>
                </a:cubicBezTo>
                <a:cubicBezTo>
                  <a:pt x="578530" y="209784"/>
                  <a:pt x="586739" y="201504"/>
                  <a:pt x="596946" y="201504"/>
                </a:cubicBezTo>
                <a:close/>
                <a:moveTo>
                  <a:pt x="675321" y="199506"/>
                </a:moveTo>
                <a:cubicBezTo>
                  <a:pt x="686598" y="199506"/>
                  <a:pt x="695735" y="208643"/>
                  <a:pt x="695735" y="219921"/>
                </a:cubicBezTo>
                <a:cubicBezTo>
                  <a:pt x="695735" y="231199"/>
                  <a:pt x="686598" y="240407"/>
                  <a:pt x="675321" y="240335"/>
                </a:cubicBezTo>
                <a:cubicBezTo>
                  <a:pt x="664043" y="240335"/>
                  <a:pt x="654906" y="231199"/>
                  <a:pt x="654906" y="219921"/>
                </a:cubicBezTo>
                <a:cubicBezTo>
                  <a:pt x="654906" y="208643"/>
                  <a:pt x="664043" y="199506"/>
                  <a:pt x="675321" y="199506"/>
                </a:cubicBezTo>
                <a:close/>
                <a:moveTo>
                  <a:pt x="832283" y="194866"/>
                </a:moveTo>
                <a:cubicBezTo>
                  <a:pt x="846131" y="194866"/>
                  <a:pt x="857337" y="206073"/>
                  <a:pt x="857337" y="219920"/>
                </a:cubicBezTo>
                <a:cubicBezTo>
                  <a:pt x="857337" y="233768"/>
                  <a:pt x="846059" y="245046"/>
                  <a:pt x="832283" y="245046"/>
                </a:cubicBezTo>
                <a:cubicBezTo>
                  <a:pt x="818436" y="245046"/>
                  <a:pt x="807229" y="233768"/>
                  <a:pt x="807229" y="219920"/>
                </a:cubicBezTo>
                <a:cubicBezTo>
                  <a:pt x="807229" y="206073"/>
                  <a:pt x="818436" y="194866"/>
                  <a:pt x="832283" y="194866"/>
                </a:cubicBezTo>
                <a:close/>
                <a:moveTo>
                  <a:pt x="165529" y="170240"/>
                </a:moveTo>
                <a:cubicBezTo>
                  <a:pt x="169169" y="170240"/>
                  <a:pt x="172381" y="172096"/>
                  <a:pt x="174237" y="174880"/>
                </a:cubicBezTo>
                <a:cubicBezTo>
                  <a:pt x="175379" y="176521"/>
                  <a:pt x="176022" y="178591"/>
                  <a:pt x="176022" y="180733"/>
                </a:cubicBezTo>
                <a:cubicBezTo>
                  <a:pt x="176022" y="182160"/>
                  <a:pt x="175665" y="183517"/>
                  <a:pt x="175165" y="184801"/>
                </a:cubicBezTo>
                <a:cubicBezTo>
                  <a:pt x="174879" y="185444"/>
                  <a:pt x="174523" y="186015"/>
                  <a:pt x="174166" y="186586"/>
                </a:cubicBezTo>
                <a:cubicBezTo>
                  <a:pt x="173737" y="187157"/>
                  <a:pt x="173309" y="187657"/>
                  <a:pt x="173024" y="188299"/>
                </a:cubicBezTo>
                <a:cubicBezTo>
                  <a:pt x="171096" y="190226"/>
                  <a:pt x="168527" y="191368"/>
                  <a:pt x="165600" y="191368"/>
                </a:cubicBezTo>
                <a:cubicBezTo>
                  <a:pt x="164815" y="191368"/>
                  <a:pt x="164173" y="191297"/>
                  <a:pt x="163459" y="191154"/>
                </a:cubicBezTo>
                <a:cubicBezTo>
                  <a:pt x="161460" y="190726"/>
                  <a:pt x="159604" y="189727"/>
                  <a:pt x="158177" y="188299"/>
                </a:cubicBezTo>
                <a:cubicBezTo>
                  <a:pt x="157677" y="187799"/>
                  <a:pt x="157249" y="187300"/>
                  <a:pt x="156892" y="186729"/>
                </a:cubicBezTo>
                <a:cubicBezTo>
                  <a:pt x="156464" y="186158"/>
                  <a:pt x="156178" y="185587"/>
                  <a:pt x="155893" y="184944"/>
                </a:cubicBezTo>
                <a:cubicBezTo>
                  <a:pt x="155607" y="184302"/>
                  <a:pt x="155393" y="183659"/>
                  <a:pt x="155250" y="182946"/>
                </a:cubicBezTo>
                <a:cubicBezTo>
                  <a:pt x="155107" y="182232"/>
                  <a:pt x="155036" y="181518"/>
                  <a:pt x="155036" y="180804"/>
                </a:cubicBezTo>
                <a:cubicBezTo>
                  <a:pt x="155036" y="180019"/>
                  <a:pt x="155107" y="179377"/>
                  <a:pt x="155250" y="178663"/>
                </a:cubicBezTo>
                <a:cubicBezTo>
                  <a:pt x="155536" y="177235"/>
                  <a:pt x="156035" y="176022"/>
                  <a:pt x="156820" y="174880"/>
                </a:cubicBezTo>
                <a:cubicBezTo>
                  <a:pt x="157177" y="174309"/>
                  <a:pt x="157606" y="173809"/>
                  <a:pt x="158105" y="173309"/>
                </a:cubicBezTo>
                <a:cubicBezTo>
                  <a:pt x="159533" y="171882"/>
                  <a:pt x="161317" y="170882"/>
                  <a:pt x="163387" y="170454"/>
                </a:cubicBezTo>
                <a:cubicBezTo>
                  <a:pt x="164101" y="170311"/>
                  <a:pt x="164815" y="170240"/>
                  <a:pt x="165529" y="170240"/>
                </a:cubicBezTo>
                <a:close/>
                <a:moveTo>
                  <a:pt x="243903" y="169098"/>
                </a:moveTo>
                <a:cubicBezTo>
                  <a:pt x="250327" y="169098"/>
                  <a:pt x="255538" y="174309"/>
                  <a:pt x="255538" y="180733"/>
                </a:cubicBezTo>
                <a:cubicBezTo>
                  <a:pt x="255538" y="182303"/>
                  <a:pt x="255181" y="183874"/>
                  <a:pt x="254610" y="185230"/>
                </a:cubicBezTo>
                <a:cubicBezTo>
                  <a:pt x="253967" y="186657"/>
                  <a:pt x="253182" y="187871"/>
                  <a:pt x="252111" y="188942"/>
                </a:cubicBezTo>
                <a:cubicBezTo>
                  <a:pt x="250041" y="191083"/>
                  <a:pt x="247115" y="192368"/>
                  <a:pt x="243903" y="192368"/>
                </a:cubicBezTo>
                <a:cubicBezTo>
                  <a:pt x="240691" y="192368"/>
                  <a:pt x="237764" y="191012"/>
                  <a:pt x="235694" y="188942"/>
                </a:cubicBezTo>
                <a:cubicBezTo>
                  <a:pt x="234624" y="187871"/>
                  <a:pt x="233767" y="186586"/>
                  <a:pt x="233196" y="185230"/>
                </a:cubicBezTo>
                <a:cubicBezTo>
                  <a:pt x="232625" y="183874"/>
                  <a:pt x="232268" y="182303"/>
                  <a:pt x="232268" y="180733"/>
                </a:cubicBezTo>
                <a:cubicBezTo>
                  <a:pt x="232268" y="174309"/>
                  <a:pt x="237479" y="169098"/>
                  <a:pt x="243903" y="169098"/>
                </a:cubicBezTo>
                <a:close/>
                <a:moveTo>
                  <a:pt x="400795" y="166385"/>
                </a:moveTo>
                <a:cubicBezTo>
                  <a:pt x="408718" y="166385"/>
                  <a:pt x="415071" y="172809"/>
                  <a:pt x="415071" y="180661"/>
                </a:cubicBezTo>
                <a:cubicBezTo>
                  <a:pt x="415071" y="182660"/>
                  <a:pt x="414642" y="184515"/>
                  <a:pt x="413929" y="186229"/>
                </a:cubicBezTo>
                <a:cubicBezTo>
                  <a:pt x="413215" y="187942"/>
                  <a:pt x="412144" y="189512"/>
                  <a:pt x="410859" y="190797"/>
                </a:cubicBezTo>
                <a:cubicBezTo>
                  <a:pt x="408290" y="193438"/>
                  <a:pt x="404721" y="195008"/>
                  <a:pt x="400795" y="195008"/>
                </a:cubicBezTo>
                <a:cubicBezTo>
                  <a:pt x="396869" y="195008"/>
                  <a:pt x="393300" y="193366"/>
                  <a:pt x="390730" y="190797"/>
                </a:cubicBezTo>
                <a:cubicBezTo>
                  <a:pt x="389446" y="189441"/>
                  <a:pt x="388375" y="187942"/>
                  <a:pt x="387661" y="186229"/>
                </a:cubicBezTo>
                <a:cubicBezTo>
                  <a:pt x="386947" y="184515"/>
                  <a:pt x="386519" y="182660"/>
                  <a:pt x="386519" y="180661"/>
                </a:cubicBezTo>
                <a:cubicBezTo>
                  <a:pt x="386519" y="172738"/>
                  <a:pt x="392943" y="166385"/>
                  <a:pt x="400795" y="166385"/>
                </a:cubicBezTo>
                <a:close/>
                <a:moveTo>
                  <a:pt x="479098" y="164815"/>
                </a:moveTo>
                <a:cubicBezTo>
                  <a:pt x="484594" y="164815"/>
                  <a:pt x="489376" y="167599"/>
                  <a:pt x="492232" y="171810"/>
                </a:cubicBezTo>
                <a:cubicBezTo>
                  <a:pt x="493945" y="174380"/>
                  <a:pt x="494944" y="177378"/>
                  <a:pt x="494944" y="180661"/>
                </a:cubicBezTo>
                <a:cubicBezTo>
                  <a:pt x="494944" y="182803"/>
                  <a:pt x="494516" y="184873"/>
                  <a:pt x="493731" y="186800"/>
                </a:cubicBezTo>
                <a:cubicBezTo>
                  <a:pt x="493374" y="187799"/>
                  <a:pt x="492874" y="188656"/>
                  <a:pt x="492303" y="189512"/>
                </a:cubicBezTo>
                <a:cubicBezTo>
                  <a:pt x="491732" y="190369"/>
                  <a:pt x="491090" y="191154"/>
                  <a:pt x="490304" y="191939"/>
                </a:cubicBezTo>
                <a:cubicBezTo>
                  <a:pt x="487449" y="194794"/>
                  <a:pt x="483452" y="196579"/>
                  <a:pt x="479098" y="196579"/>
                </a:cubicBezTo>
                <a:cubicBezTo>
                  <a:pt x="477956" y="196579"/>
                  <a:pt x="476885" y="196436"/>
                  <a:pt x="475886" y="196222"/>
                </a:cubicBezTo>
                <a:cubicBezTo>
                  <a:pt x="472816" y="195651"/>
                  <a:pt x="470033" y="194081"/>
                  <a:pt x="467891" y="191939"/>
                </a:cubicBezTo>
                <a:cubicBezTo>
                  <a:pt x="467177" y="191225"/>
                  <a:pt x="466535" y="190440"/>
                  <a:pt x="465964" y="189584"/>
                </a:cubicBezTo>
                <a:cubicBezTo>
                  <a:pt x="465393" y="188727"/>
                  <a:pt x="464965" y="187799"/>
                  <a:pt x="464536" y="186871"/>
                </a:cubicBezTo>
                <a:cubicBezTo>
                  <a:pt x="464108" y="185872"/>
                  <a:pt x="463823" y="184873"/>
                  <a:pt x="463608" y="183873"/>
                </a:cubicBezTo>
                <a:cubicBezTo>
                  <a:pt x="463466" y="182803"/>
                  <a:pt x="463323" y="181732"/>
                  <a:pt x="463323" y="180661"/>
                </a:cubicBezTo>
                <a:cubicBezTo>
                  <a:pt x="463323" y="179519"/>
                  <a:pt x="463394" y="178449"/>
                  <a:pt x="463608" y="177449"/>
                </a:cubicBezTo>
                <a:cubicBezTo>
                  <a:pt x="464037" y="175379"/>
                  <a:pt x="464822" y="173523"/>
                  <a:pt x="465964" y="171810"/>
                </a:cubicBezTo>
                <a:cubicBezTo>
                  <a:pt x="466535" y="170954"/>
                  <a:pt x="467177" y="170168"/>
                  <a:pt x="467891" y="169455"/>
                </a:cubicBezTo>
                <a:cubicBezTo>
                  <a:pt x="470033" y="167313"/>
                  <a:pt x="472816" y="165814"/>
                  <a:pt x="475886" y="165172"/>
                </a:cubicBezTo>
                <a:cubicBezTo>
                  <a:pt x="476956" y="164958"/>
                  <a:pt x="478027" y="164815"/>
                  <a:pt x="479098" y="164815"/>
                </a:cubicBezTo>
                <a:close/>
                <a:moveTo>
                  <a:pt x="636061" y="161317"/>
                </a:moveTo>
                <a:cubicBezTo>
                  <a:pt x="642771" y="161317"/>
                  <a:pt x="648695" y="164743"/>
                  <a:pt x="652193" y="169883"/>
                </a:cubicBezTo>
                <a:cubicBezTo>
                  <a:pt x="654263" y="172952"/>
                  <a:pt x="655476" y="176735"/>
                  <a:pt x="655476" y="180732"/>
                </a:cubicBezTo>
                <a:cubicBezTo>
                  <a:pt x="655476" y="183445"/>
                  <a:pt x="654977" y="185943"/>
                  <a:pt x="653977" y="188298"/>
                </a:cubicBezTo>
                <a:cubicBezTo>
                  <a:pt x="653478" y="189441"/>
                  <a:pt x="652907" y="190583"/>
                  <a:pt x="652193" y="191582"/>
                </a:cubicBezTo>
                <a:cubicBezTo>
                  <a:pt x="651479" y="192581"/>
                  <a:pt x="650694" y="193581"/>
                  <a:pt x="649766" y="194437"/>
                </a:cubicBezTo>
                <a:cubicBezTo>
                  <a:pt x="646268" y="198006"/>
                  <a:pt x="641415" y="200148"/>
                  <a:pt x="636061" y="200148"/>
                </a:cubicBezTo>
                <a:cubicBezTo>
                  <a:pt x="634705" y="200148"/>
                  <a:pt x="633420" y="200005"/>
                  <a:pt x="632135" y="199719"/>
                </a:cubicBezTo>
                <a:cubicBezTo>
                  <a:pt x="628352" y="198934"/>
                  <a:pt x="624997" y="197078"/>
                  <a:pt x="622356" y="194437"/>
                </a:cubicBezTo>
                <a:cubicBezTo>
                  <a:pt x="621500" y="193581"/>
                  <a:pt x="620715" y="192581"/>
                  <a:pt x="620001" y="191582"/>
                </a:cubicBezTo>
                <a:cubicBezTo>
                  <a:pt x="619287" y="190583"/>
                  <a:pt x="618716" y="189441"/>
                  <a:pt x="618216" y="188298"/>
                </a:cubicBezTo>
                <a:cubicBezTo>
                  <a:pt x="617717" y="187156"/>
                  <a:pt x="617360" y="185943"/>
                  <a:pt x="617074" y="184658"/>
                </a:cubicBezTo>
                <a:cubicBezTo>
                  <a:pt x="616789" y="183373"/>
                  <a:pt x="616646" y="182088"/>
                  <a:pt x="616646" y="180732"/>
                </a:cubicBezTo>
                <a:cubicBezTo>
                  <a:pt x="616646" y="179376"/>
                  <a:pt x="616789" y="178091"/>
                  <a:pt x="617074" y="176806"/>
                </a:cubicBezTo>
                <a:cubicBezTo>
                  <a:pt x="617574" y="174308"/>
                  <a:pt x="618573" y="171953"/>
                  <a:pt x="620001" y="169883"/>
                </a:cubicBezTo>
                <a:cubicBezTo>
                  <a:pt x="620715" y="168883"/>
                  <a:pt x="621500" y="167884"/>
                  <a:pt x="622356" y="167027"/>
                </a:cubicBezTo>
                <a:cubicBezTo>
                  <a:pt x="624926" y="164386"/>
                  <a:pt x="628352" y="162530"/>
                  <a:pt x="632135" y="161745"/>
                </a:cubicBezTo>
                <a:cubicBezTo>
                  <a:pt x="633420" y="161460"/>
                  <a:pt x="634705" y="161317"/>
                  <a:pt x="636061" y="161317"/>
                </a:cubicBezTo>
                <a:close/>
                <a:moveTo>
                  <a:pt x="714579" y="159247"/>
                </a:moveTo>
                <a:cubicBezTo>
                  <a:pt x="726428" y="159247"/>
                  <a:pt x="736064" y="168883"/>
                  <a:pt x="736064" y="180732"/>
                </a:cubicBezTo>
                <a:cubicBezTo>
                  <a:pt x="736064" y="183659"/>
                  <a:pt x="735422" y="186514"/>
                  <a:pt x="734351" y="189084"/>
                </a:cubicBezTo>
                <a:cubicBezTo>
                  <a:pt x="733281" y="191653"/>
                  <a:pt x="731710" y="193937"/>
                  <a:pt x="729854" y="195936"/>
                </a:cubicBezTo>
                <a:cubicBezTo>
                  <a:pt x="726000" y="199791"/>
                  <a:pt x="720575" y="202218"/>
                  <a:pt x="714651" y="202218"/>
                </a:cubicBezTo>
                <a:cubicBezTo>
                  <a:pt x="708726" y="202218"/>
                  <a:pt x="703373" y="199862"/>
                  <a:pt x="699447" y="195936"/>
                </a:cubicBezTo>
                <a:cubicBezTo>
                  <a:pt x="697448" y="194009"/>
                  <a:pt x="695878" y="191653"/>
                  <a:pt x="694807" y="189084"/>
                </a:cubicBezTo>
                <a:cubicBezTo>
                  <a:pt x="693665" y="186514"/>
                  <a:pt x="693094" y="183730"/>
                  <a:pt x="693094" y="180732"/>
                </a:cubicBezTo>
                <a:cubicBezTo>
                  <a:pt x="693094" y="168883"/>
                  <a:pt x="702730" y="159247"/>
                  <a:pt x="714579" y="159247"/>
                </a:cubicBezTo>
                <a:close/>
                <a:moveTo>
                  <a:pt x="871470" y="154322"/>
                </a:moveTo>
                <a:cubicBezTo>
                  <a:pt x="886032" y="154322"/>
                  <a:pt x="897881" y="166171"/>
                  <a:pt x="897881" y="180732"/>
                </a:cubicBezTo>
                <a:cubicBezTo>
                  <a:pt x="897881" y="184373"/>
                  <a:pt x="897167" y="187870"/>
                  <a:pt x="895811" y="191011"/>
                </a:cubicBezTo>
                <a:cubicBezTo>
                  <a:pt x="894455" y="194152"/>
                  <a:pt x="892527" y="197007"/>
                  <a:pt x="890172" y="199434"/>
                </a:cubicBezTo>
                <a:cubicBezTo>
                  <a:pt x="885389" y="204216"/>
                  <a:pt x="878751" y="207143"/>
                  <a:pt x="871470" y="207143"/>
                </a:cubicBezTo>
                <a:cubicBezTo>
                  <a:pt x="864118" y="207143"/>
                  <a:pt x="857551" y="204216"/>
                  <a:pt x="852769" y="199434"/>
                </a:cubicBezTo>
                <a:cubicBezTo>
                  <a:pt x="850413" y="197007"/>
                  <a:pt x="848486" y="194152"/>
                  <a:pt x="847130" y="191011"/>
                </a:cubicBezTo>
                <a:cubicBezTo>
                  <a:pt x="845774" y="187870"/>
                  <a:pt x="845060" y="184373"/>
                  <a:pt x="845060" y="180732"/>
                </a:cubicBezTo>
                <a:cubicBezTo>
                  <a:pt x="845060" y="166171"/>
                  <a:pt x="856909" y="154322"/>
                  <a:pt x="871470" y="154322"/>
                </a:cubicBezTo>
                <a:close/>
                <a:moveTo>
                  <a:pt x="126198" y="131481"/>
                </a:moveTo>
                <a:cubicBezTo>
                  <a:pt x="131694" y="131481"/>
                  <a:pt x="136191" y="135978"/>
                  <a:pt x="136191" y="141474"/>
                </a:cubicBezTo>
                <a:cubicBezTo>
                  <a:pt x="136191" y="146970"/>
                  <a:pt x="131694" y="151467"/>
                  <a:pt x="126198" y="151467"/>
                </a:cubicBezTo>
                <a:cubicBezTo>
                  <a:pt x="120631" y="151467"/>
                  <a:pt x="116205" y="146970"/>
                  <a:pt x="116205" y="141474"/>
                </a:cubicBezTo>
                <a:cubicBezTo>
                  <a:pt x="116205" y="135907"/>
                  <a:pt x="120702" y="131481"/>
                  <a:pt x="126198" y="131481"/>
                </a:cubicBezTo>
                <a:close/>
                <a:moveTo>
                  <a:pt x="204644" y="130410"/>
                </a:moveTo>
                <a:cubicBezTo>
                  <a:pt x="210782" y="130410"/>
                  <a:pt x="215708" y="135407"/>
                  <a:pt x="215708" y="141474"/>
                </a:cubicBezTo>
                <a:cubicBezTo>
                  <a:pt x="215708" y="147612"/>
                  <a:pt x="210782" y="152538"/>
                  <a:pt x="204644" y="152538"/>
                </a:cubicBezTo>
                <a:cubicBezTo>
                  <a:pt x="198505" y="152538"/>
                  <a:pt x="193580" y="147541"/>
                  <a:pt x="193580" y="141474"/>
                </a:cubicBezTo>
                <a:cubicBezTo>
                  <a:pt x="193580" y="135335"/>
                  <a:pt x="198577" y="130410"/>
                  <a:pt x="204644" y="130410"/>
                </a:cubicBezTo>
                <a:close/>
                <a:moveTo>
                  <a:pt x="361536" y="127912"/>
                </a:moveTo>
                <a:cubicBezTo>
                  <a:pt x="369031" y="127912"/>
                  <a:pt x="375098" y="133979"/>
                  <a:pt x="375098" y="141474"/>
                </a:cubicBezTo>
                <a:cubicBezTo>
                  <a:pt x="375098" y="148969"/>
                  <a:pt x="369031" y="155036"/>
                  <a:pt x="361536" y="155036"/>
                </a:cubicBezTo>
                <a:cubicBezTo>
                  <a:pt x="354041" y="155036"/>
                  <a:pt x="347974" y="148969"/>
                  <a:pt x="347974" y="141474"/>
                </a:cubicBezTo>
                <a:cubicBezTo>
                  <a:pt x="347974" y="133979"/>
                  <a:pt x="354041" y="127912"/>
                  <a:pt x="361536" y="127912"/>
                </a:cubicBezTo>
                <a:close/>
                <a:moveTo>
                  <a:pt x="440054" y="126484"/>
                </a:moveTo>
                <a:cubicBezTo>
                  <a:pt x="448334" y="126484"/>
                  <a:pt x="455043" y="133194"/>
                  <a:pt x="455043" y="141474"/>
                </a:cubicBezTo>
                <a:cubicBezTo>
                  <a:pt x="455043" y="149754"/>
                  <a:pt x="448262" y="156535"/>
                  <a:pt x="440054" y="156463"/>
                </a:cubicBezTo>
                <a:cubicBezTo>
                  <a:pt x="431774" y="156463"/>
                  <a:pt x="425064" y="149754"/>
                  <a:pt x="425064" y="141474"/>
                </a:cubicBezTo>
                <a:cubicBezTo>
                  <a:pt x="425064" y="133194"/>
                  <a:pt x="431774" y="126484"/>
                  <a:pt x="440054" y="126484"/>
                </a:cubicBezTo>
                <a:close/>
                <a:moveTo>
                  <a:pt x="596946" y="123058"/>
                </a:moveTo>
                <a:cubicBezTo>
                  <a:pt x="607082" y="123058"/>
                  <a:pt x="615362" y="131267"/>
                  <a:pt x="615362" y="141474"/>
                </a:cubicBezTo>
                <a:cubicBezTo>
                  <a:pt x="615362" y="151681"/>
                  <a:pt x="607082" y="159890"/>
                  <a:pt x="596946" y="159890"/>
                </a:cubicBezTo>
                <a:cubicBezTo>
                  <a:pt x="586810" y="159890"/>
                  <a:pt x="578530" y="151681"/>
                  <a:pt x="578530" y="141474"/>
                </a:cubicBezTo>
                <a:cubicBezTo>
                  <a:pt x="578530" y="131338"/>
                  <a:pt x="586739" y="123058"/>
                  <a:pt x="596946" y="123058"/>
                </a:cubicBezTo>
                <a:close/>
                <a:moveTo>
                  <a:pt x="675321" y="121059"/>
                </a:moveTo>
                <a:cubicBezTo>
                  <a:pt x="686598" y="121059"/>
                  <a:pt x="695735" y="130196"/>
                  <a:pt x="695735" y="141474"/>
                </a:cubicBezTo>
                <a:cubicBezTo>
                  <a:pt x="695735" y="152752"/>
                  <a:pt x="686598" y="161888"/>
                  <a:pt x="675321" y="161888"/>
                </a:cubicBezTo>
                <a:cubicBezTo>
                  <a:pt x="664043" y="161888"/>
                  <a:pt x="654906" y="152752"/>
                  <a:pt x="654906" y="141474"/>
                </a:cubicBezTo>
                <a:cubicBezTo>
                  <a:pt x="654906" y="130196"/>
                  <a:pt x="664043" y="121059"/>
                  <a:pt x="675321" y="121059"/>
                </a:cubicBezTo>
                <a:close/>
                <a:moveTo>
                  <a:pt x="832283" y="116348"/>
                </a:moveTo>
                <a:cubicBezTo>
                  <a:pt x="846131" y="116348"/>
                  <a:pt x="857337" y="127626"/>
                  <a:pt x="857337" y="141474"/>
                </a:cubicBezTo>
                <a:cubicBezTo>
                  <a:pt x="857337" y="155321"/>
                  <a:pt x="846059" y="166599"/>
                  <a:pt x="832283" y="166528"/>
                </a:cubicBezTo>
                <a:cubicBezTo>
                  <a:pt x="818436" y="166528"/>
                  <a:pt x="807229" y="155321"/>
                  <a:pt x="807229" y="141474"/>
                </a:cubicBezTo>
                <a:cubicBezTo>
                  <a:pt x="807229" y="127555"/>
                  <a:pt x="818436" y="116348"/>
                  <a:pt x="832283" y="116348"/>
                </a:cubicBezTo>
                <a:close/>
                <a:moveTo>
                  <a:pt x="910730" y="113636"/>
                </a:moveTo>
                <a:cubicBezTo>
                  <a:pt x="926076" y="113636"/>
                  <a:pt x="938496" y="126127"/>
                  <a:pt x="938496" y="141474"/>
                </a:cubicBezTo>
                <a:lnTo>
                  <a:pt x="930397" y="161004"/>
                </a:lnTo>
                <a:lnTo>
                  <a:pt x="949989" y="152895"/>
                </a:lnTo>
                <a:cubicBezTo>
                  <a:pt x="965335" y="152895"/>
                  <a:pt x="977755" y="165315"/>
                  <a:pt x="977755" y="180662"/>
                </a:cubicBezTo>
                <a:cubicBezTo>
                  <a:pt x="977755" y="184516"/>
                  <a:pt x="976970" y="188157"/>
                  <a:pt x="975542" y="191511"/>
                </a:cubicBezTo>
                <a:cubicBezTo>
                  <a:pt x="974115" y="194866"/>
                  <a:pt x="972045" y="197864"/>
                  <a:pt x="969618" y="200362"/>
                </a:cubicBezTo>
                <a:cubicBezTo>
                  <a:pt x="964621" y="205359"/>
                  <a:pt x="957698" y="208500"/>
                  <a:pt x="949989" y="208500"/>
                </a:cubicBezTo>
                <a:lnTo>
                  <a:pt x="930410" y="200383"/>
                </a:lnTo>
                <a:lnTo>
                  <a:pt x="938496" y="219920"/>
                </a:lnTo>
                <a:cubicBezTo>
                  <a:pt x="938496" y="235266"/>
                  <a:pt x="926005" y="247758"/>
                  <a:pt x="910730" y="247758"/>
                </a:cubicBezTo>
                <a:cubicBezTo>
                  <a:pt x="895383" y="247758"/>
                  <a:pt x="882963" y="235266"/>
                  <a:pt x="882963" y="219920"/>
                </a:cubicBezTo>
                <a:cubicBezTo>
                  <a:pt x="882963" y="204573"/>
                  <a:pt x="895383" y="192153"/>
                  <a:pt x="910730" y="192153"/>
                </a:cubicBezTo>
                <a:lnTo>
                  <a:pt x="930281" y="200246"/>
                </a:lnTo>
                <a:lnTo>
                  <a:pt x="924435" y="191511"/>
                </a:lnTo>
                <a:cubicBezTo>
                  <a:pt x="923007" y="188157"/>
                  <a:pt x="922222" y="184516"/>
                  <a:pt x="922222" y="180662"/>
                </a:cubicBezTo>
                <a:lnTo>
                  <a:pt x="930295" y="161159"/>
                </a:lnTo>
                <a:lnTo>
                  <a:pt x="910730" y="169241"/>
                </a:lnTo>
                <a:cubicBezTo>
                  <a:pt x="895383" y="169241"/>
                  <a:pt x="882963" y="156821"/>
                  <a:pt x="882963" y="141474"/>
                </a:cubicBezTo>
                <a:cubicBezTo>
                  <a:pt x="882963" y="126056"/>
                  <a:pt x="895383" y="113636"/>
                  <a:pt x="910730" y="113636"/>
                </a:cubicBezTo>
                <a:close/>
                <a:moveTo>
                  <a:pt x="86939" y="92793"/>
                </a:moveTo>
                <a:cubicBezTo>
                  <a:pt x="92222" y="92793"/>
                  <a:pt x="96433" y="97076"/>
                  <a:pt x="96433" y="102286"/>
                </a:cubicBezTo>
                <a:cubicBezTo>
                  <a:pt x="96433" y="107497"/>
                  <a:pt x="92222" y="111709"/>
                  <a:pt x="86939" y="111780"/>
                </a:cubicBezTo>
                <a:cubicBezTo>
                  <a:pt x="81657" y="111780"/>
                  <a:pt x="77446" y="107497"/>
                  <a:pt x="77446" y="102286"/>
                </a:cubicBezTo>
                <a:cubicBezTo>
                  <a:pt x="77446" y="97004"/>
                  <a:pt x="81729" y="92793"/>
                  <a:pt x="86939" y="92793"/>
                </a:cubicBezTo>
                <a:close/>
                <a:moveTo>
                  <a:pt x="165457" y="91794"/>
                </a:moveTo>
                <a:cubicBezTo>
                  <a:pt x="169097" y="91794"/>
                  <a:pt x="172309" y="93650"/>
                  <a:pt x="174165" y="96434"/>
                </a:cubicBezTo>
                <a:cubicBezTo>
                  <a:pt x="175307" y="98075"/>
                  <a:pt x="175950" y="100145"/>
                  <a:pt x="175950" y="102287"/>
                </a:cubicBezTo>
                <a:cubicBezTo>
                  <a:pt x="175950" y="104428"/>
                  <a:pt x="175307" y="106498"/>
                  <a:pt x="174165" y="108140"/>
                </a:cubicBezTo>
                <a:cubicBezTo>
                  <a:pt x="172238" y="110924"/>
                  <a:pt x="169026" y="112780"/>
                  <a:pt x="165457" y="112922"/>
                </a:cubicBezTo>
                <a:cubicBezTo>
                  <a:pt x="164672" y="112922"/>
                  <a:pt x="164029" y="112851"/>
                  <a:pt x="163315" y="112708"/>
                </a:cubicBezTo>
                <a:cubicBezTo>
                  <a:pt x="161317" y="112280"/>
                  <a:pt x="159461" y="111281"/>
                  <a:pt x="158033" y="109853"/>
                </a:cubicBezTo>
                <a:cubicBezTo>
                  <a:pt x="157534" y="109353"/>
                  <a:pt x="157105" y="108854"/>
                  <a:pt x="156748" y="108283"/>
                </a:cubicBezTo>
                <a:cubicBezTo>
                  <a:pt x="156035" y="107141"/>
                  <a:pt x="155464" y="105856"/>
                  <a:pt x="155178" y="104500"/>
                </a:cubicBezTo>
                <a:cubicBezTo>
                  <a:pt x="155035" y="103786"/>
                  <a:pt x="154964" y="103072"/>
                  <a:pt x="154964" y="102358"/>
                </a:cubicBezTo>
                <a:cubicBezTo>
                  <a:pt x="154964" y="101573"/>
                  <a:pt x="155035" y="100931"/>
                  <a:pt x="155178" y="100217"/>
                </a:cubicBezTo>
                <a:cubicBezTo>
                  <a:pt x="155464" y="98789"/>
                  <a:pt x="155963" y="97576"/>
                  <a:pt x="156748" y="96434"/>
                </a:cubicBezTo>
                <a:cubicBezTo>
                  <a:pt x="157105" y="95863"/>
                  <a:pt x="157534" y="95363"/>
                  <a:pt x="158033" y="94863"/>
                </a:cubicBezTo>
                <a:cubicBezTo>
                  <a:pt x="159461" y="93436"/>
                  <a:pt x="161245" y="92436"/>
                  <a:pt x="163315" y="92008"/>
                </a:cubicBezTo>
                <a:cubicBezTo>
                  <a:pt x="164029" y="91865"/>
                  <a:pt x="164743" y="91794"/>
                  <a:pt x="165457" y="91794"/>
                </a:cubicBezTo>
                <a:close/>
                <a:moveTo>
                  <a:pt x="322349" y="89367"/>
                </a:moveTo>
                <a:cubicBezTo>
                  <a:pt x="324990" y="89367"/>
                  <a:pt x="327489" y="90224"/>
                  <a:pt x="329559" y="91580"/>
                </a:cubicBezTo>
                <a:cubicBezTo>
                  <a:pt x="332913" y="93935"/>
                  <a:pt x="335198" y="97861"/>
                  <a:pt x="335198" y="102287"/>
                </a:cubicBezTo>
                <a:cubicBezTo>
                  <a:pt x="335198" y="106712"/>
                  <a:pt x="332985" y="110638"/>
                  <a:pt x="329559" y="112994"/>
                </a:cubicBezTo>
                <a:cubicBezTo>
                  <a:pt x="327489" y="114421"/>
                  <a:pt x="324990" y="115206"/>
                  <a:pt x="322349" y="115206"/>
                </a:cubicBezTo>
                <a:cubicBezTo>
                  <a:pt x="321493" y="115206"/>
                  <a:pt x="320636" y="115064"/>
                  <a:pt x="319780" y="114921"/>
                </a:cubicBezTo>
                <a:cubicBezTo>
                  <a:pt x="313927" y="113707"/>
                  <a:pt x="309501" y="108497"/>
                  <a:pt x="309501" y="102287"/>
                </a:cubicBezTo>
                <a:cubicBezTo>
                  <a:pt x="309501" y="96077"/>
                  <a:pt x="313927" y="90866"/>
                  <a:pt x="319780" y="89653"/>
                </a:cubicBezTo>
                <a:cubicBezTo>
                  <a:pt x="320565" y="89438"/>
                  <a:pt x="321493" y="89367"/>
                  <a:pt x="322349" y="89367"/>
                </a:cubicBezTo>
                <a:close/>
                <a:moveTo>
                  <a:pt x="400795" y="88011"/>
                </a:moveTo>
                <a:cubicBezTo>
                  <a:pt x="408718" y="88011"/>
                  <a:pt x="415071" y="94435"/>
                  <a:pt x="415071" y="102287"/>
                </a:cubicBezTo>
                <a:cubicBezTo>
                  <a:pt x="415071" y="110139"/>
                  <a:pt x="408647" y="116563"/>
                  <a:pt x="400795" y="116563"/>
                </a:cubicBezTo>
                <a:cubicBezTo>
                  <a:pt x="392943" y="116563"/>
                  <a:pt x="386519" y="110139"/>
                  <a:pt x="386519" y="102287"/>
                </a:cubicBezTo>
                <a:cubicBezTo>
                  <a:pt x="386519" y="94364"/>
                  <a:pt x="392943" y="88011"/>
                  <a:pt x="400795" y="88011"/>
                </a:cubicBezTo>
                <a:close/>
                <a:moveTo>
                  <a:pt x="557687" y="84798"/>
                </a:moveTo>
                <a:cubicBezTo>
                  <a:pt x="567323" y="84798"/>
                  <a:pt x="575175" y="92650"/>
                  <a:pt x="575175" y="102286"/>
                </a:cubicBezTo>
                <a:cubicBezTo>
                  <a:pt x="575175" y="111922"/>
                  <a:pt x="567323" y="119774"/>
                  <a:pt x="557687" y="119774"/>
                </a:cubicBezTo>
                <a:cubicBezTo>
                  <a:pt x="548051" y="119774"/>
                  <a:pt x="540199" y="111922"/>
                  <a:pt x="540199" y="102286"/>
                </a:cubicBezTo>
                <a:cubicBezTo>
                  <a:pt x="540199" y="92650"/>
                  <a:pt x="548051" y="84798"/>
                  <a:pt x="557687" y="84798"/>
                </a:cubicBezTo>
                <a:close/>
                <a:moveTo>
                  <a:pt x="636061" y="82871"/>
                </a:moveTo>
                <a:cubicBezTo>
                  <a:pt x="642771" y="82871"/>
                  <a:pt x="648695" y="86297"/>
                  <a:pt x="652193" y="91437"/>
                </a:cubicBezTo>
                <a:cubicBezTo>
                  <a:pt x="654263" y="94506"/>
                  <a:pt x="655476" y="98289"/>
                  <a:pt x="655476" y="102286"/>
                </a:cubicBezTo>
                <a:cubicBezTo>
                  <a:pt x="655476" y="106284"/>
                  <a:pt x="654263" y="110067"/>
                  <a:pt x="652193" y="113136"/>
                </a:cubicBezTo>
                <a:cubicBezTo>
                  <a:pt x="648695" y="118275"/>
                  <a:pt x="642842" y="121702"/>
                  <a:pt x="636061" y="121702"/>
                </a:cubicBezTo>
                <a:cubicBezTo>
                  <a:pt x="634705" y="121702"/>
                  <a:pt x="633420" y="121559"/>
                  <a:pt x="632135" y="121273"/>
                </a:cubicBezTo>
                <a:cubicBezTo>
                  <a:pt x="628352" y="120488"/>
                  <a:pt x="624997" y="118632"/>
                  <a:pt x="622356" y="115991"/>
                </a:cubicBezTo>
                <a:cubicBezTo>
                  <a:pt x="621500" y="115135"/>
                  <a:pt x="620715" y="114135"/>
                  <a:pt x="620001" y="113136"/>
                </a:cubicBezTo>
                <a:cubicBezTo>
                  <a:pt x="618573" y="111066"/>
                  <a:pt x="617574" y="108710"/>
                  <a:pt x="617074" y="106212"/>
                </a:cubicBezTo>
                <a:cubicBezTo>
                  <a:pt x="616789" y="104927"/>
                  <a:pt x="616646" y="103642"/>
                  <a:pt x="616646" y="102286"/>
                </a:cubicBezTo>
                <a:cubicBezTo>
                  <a:pt x="616646" y="100930"/>
                  <a:pt x="616789" y="99645"/>
                  <a:pt x="617074" y="98360"/>
                </a:cubicBezTo>
                <a:cubicBezTo>
                  <a:pt x="617574" y="95862"/>
                  <a:pt x="618573" y="93507"/>
                  <a:pt x="620001" y="91437"/>
                </a:cubicBezTo>
                <a:cubicBezTo>
                  <a:pt x="620715" y="90437"/>
                  <a:pt x="621500" y="89438"/>
                  <a:pt x="622356" y="88581"/>
                </a:cubicBezTo>
                <a:cubicBezTo>
                  <a:pt x="624926" y="85940"/>
                  <a:pt x="628352" y="84084"/>
                  <a:pt x="632135" y="83299"/>
                </a:cubicBezTo>
                <a:cubicBezTo>
                  <a:pt x="633420" y="83014"/>
                  <a:pt x="634705" y="82871"/>
                  <a:pt x="636061" y="82871"/>
                </a:cubicBezTo>
                <a:close/>
                <a:moveTo>
                  <a:pt x="793025" y="78446"/>
                </a:moveTo>
                <a:cubicBezTo>
                  <a:pt x="797950" y="78446"/>
                  <a:pt x="802590" y="79945"/>
                  <a:pt x="806373" y="82515"/>
                </a:cubicBezTo>
                <a:cubicBezTo>
                  <a:pt x="812725" y="86797"/>
                  <a:pt x="816865" y="94078"/>
                  <a:pt x="816865" y="102287"/>
                </a:cubicBezTo>
                <a:cubicBezTo>
                  <a:pt x="816865" y="110495"/>
                  <a:pt x="812654" y="117776"/>
                  <a:pt x="806373" y="122059"/>
                </a:cubicBezTo>
                <a:cubicBezTo>
                  <a:pt x="802518" y="124629"/>
                  <a:pt x="797950" y="126128"/>
                  <a:pt x="793025" y="126128"/>
                </a:cubicBezTo>
                <a:cubicBezTo>
                  <a:pt x="791383" y="126128"/>
                  <a:pt x="789813" y="125913"/>
                  <a:pt x="788242" y="125628"/>
                </a:cubicBezTo>
                <a:cubicBezTo>
                  <a:pt x="777321" y="123415"/>
                  <a:pt x="769184" y="113779"/>
                  <a:pt x="769184" y="102287"/>
                </a:cubicBezTo>
                <a:cubicBezTo>
                  <a:pt x="769184" y="90795"/>
                  <a:pt x="777393" y="81158"/>
                  <a:pt x="788242" y="78946"/>
                </a:cubicBezTo>
                <a:cubicBezTo>
                  <a:pt x="789741" y="78589"/>
                  <a:pt x="791383" y="78446"/>
                  <a:pt x="793025" y="78446"/>
                </a:cubicBezTo>
                <a:close/>
                <a:moveTo>
                  <a:pt x="871470" y="75876"/>
                </a:moveTo>
                <a:cubicBezTo>
                  <a:pt x="886032" y="75876"/>
                  <a:pt x="897881" y="87725"/>
                  <a:pt x="897881" y="102286"/>
                </a:cubicBezTo>
                <a:cubicBezTo>
                  <a:pt x="897881" y="116848"/>
                  <a:pt x="886032" y="128697"/>
                  <a:pt x="871470" y="128697"/>
                </a:cubicBezTo>
                <a:cubicBezTo>
                  <a:pt x="856909" y="128697"/>
                  <a:pt x="845060" y="116848"/>
                  <a:pt x="845060" y="102286"/>
                </a:cubicBezTo>
                <a:cubicBezTo>
                  <a:pt x="845060" y="87725"/>
                  <a:pt x="856909" y="75876"/>
                  <a:pt x="871470" y="75876"/>
                </a:cubicBezTo>
                <a:close/>
                <a:moveTo>
                  <a:pt x="47753" y="54034"/>
                </a:moveTo>
                <a:cubicBezTo>
                  <a:pt x="52749" y="54034"/>
                  <a:pt x="56747" y="58031"/>
                  <a:pt x="56747" y="63028"/>
                </a:cubicBezTo>
                <a:cubicBezTo>
                  <a:pt x="56747" y="68024"/>
                  <a:pt x="52749" y="72022"/>
                  <a:pt x="47753" y="72022"/>
                </a:cubicBezTo>
                <a:cubicBezTo>
                  <a:pt x="42756" y="72022"/>
                  <a:pt x="38759" y="68024"/>
                  <a:pt x="38759" y="63028"/>
                </a:cubicBezTo>
                <a:cubicBezTo>
                  <a:pt x="38759" y="58031"/>
                  <a:pt x="42756" y="54034"/>
                  <a:pt x="47753" y="54034"/>
                </a:cubicBezTo>
                <a:close/>
                <a:moveTo>
                  <a:pt x="126198" y="53035"/>
                </a:moveTo>
                <a:cubicBezTo>
                  <a:pt x="131694" y="53035"/>
                  <a:pt x="136191" y="57532"/>
                  <a:pt x="136191" y="63028"/>
                </a:cubicBezTo>
                <a:cubicBezTo>
                  <a:pt x="136191" y="68524"/>
                  <a:pt x="131694" y="73021"/>
                  <a:pt x="126198" y="73021"/>
                </a:cubicBezTo>
                <a:cubicBezTo>
                  <a:pt x="120631" y="73021"/>
                  <a:pt x="116205" y="68524"/>
                  <a:pt x="116205" y="63028"/>
                </a:cubicBezTo>
                <a:cubicBezTo>
                  <a:pt x="116205" y="57461"/>
                  <a:pt x="120702" y="53035"/>
                  <a:pt x="126198" y="53035"/>
                </a:cubicBezTo>
                <a:close/>
                <a:moveTo>
                  <a:pt x="283162" y="50822"/>
                </a:moveTo>
                <a:cubicBezTo>
                  <a:pt x="289872" y="50822"/>
                  <a:pt x="295368" y="56247"/>
                  <a:pt x="295368" y="63028"/>
                </a:cubicBezTo>
                <a:cubicBezTo>
                  <a:pt x="295368" y="69809"/>
                  <a:pt x="289872" y="75305"/>
                  <a:pt x="283162" y="75234"/>
                </a:cubicBezTo>
                <a:cubicBezTo>
                  <a:pt x="276452" y="75234"/>
                  <a:pt x="270956" y="69809"/>
                  <a:pt x="270956" y="63028"/>
                </a:cubicBezTo>
                <a:cubicBezTo>
                  <a:pt x="270956" y="56318"/>
                  <a:pt x="276381" y="50822"/>
                  <a:pt x="283162" y="50822"/>
                </a:cubicBezTo>
                <a:close/>
                <a:moveTo>
                  <a:pt x="361536" y="49466"/>
                </a:moveTo>
                <a:cubicBezTo>
                  <a:pt x="369031" y="49466"/>
                  <a:pt x="375098" y="55533"/>
                  <a:pt x="375098" y="63028"/>
                </a:cubicBezTo>
                <a:cubicBezTo>
                  <a:pt x="375098" y="70523"/>
                  <a:pt x="369031" y="76590"/>
                  <a:pt x="361536" y="76590"/>
                </a:cubicBezTo>
                <a:cubicBezTo>
                  <a:pt x="354041" y="76590"/>
                  <a:pt x="347974" y="70523"/>
                  <a:pt x="347974" y="63028"/>
                </a:cubicBezTo>
                <a:cubicBezTo>
                  <a:pt x="347974" y="55533"/>
                  <a:pt x="354041" y="49466"/>
                  <a:pt x="361536" y="49466"/>
                </a:cubicBezTo>
                <a:close/>
                <a:moveTo>
                  <a:pt x="518428" y="46396"/>
                </a:moveTo>
                <a:cubicBezTo>
                  <a:pt x="527636" y="46396"/>
                  <a:pt x="535060" y="53819"/>
                  <a:pt x="535060" y="63027"/>
                </a:cubicBezTo>
                <a:cubicBezTo>
                  <a:pt x="535060" y="72235"/>
                  <a:pt x="527636" y="79730"/>
                  <a:pt x="518428" y="79659"/>
                </a:cubicBezTo>
                <a:cubicBezTo>
                  <a:pt x="509220" y="79659"/>
                  <a:pt x="501797" y="72235"/>
                  <a:pt x="501797" y="63027"/>
                </a:cubicBezTo>
                <a:cubicBezTo>
                  <a:pt x="501797" y="53819"/>
                  <a:pt x="509220" y="46396"/>
                  <a:pt x="518428" y="46396"/>
                </a:cubicBezTo>
                <a:close/>
                <a:moveTo>
                  <a:pt x="596946" y="44612"/>
                </a:moveTo>
                <a:cubicBezTo>
                  <a:pt x="607082" y="44612"/>
                  <a:pt x="615362" y="52821"/>
                  <a:pt x="615362" y="63028"/>
                </a:cubicBezTo>
                <a:cubicBezTo>
                  <a:pt x="615362" y="73235"/>
                  <a:pt x="607082" y="81515"/>
                  <a:pt x="596946" y="81444"/>
                </a:cubicBezTo>
                <a:cubicBezTo>
                  <a:pt x="586810" y="81444"/>
                  <a:pt x="578530" y="73235"/>
                  <a:pt x="578530" y="63028"/>
                </a:cubicBezTo>
                <a:cubicBezTo>
                  <a:pt x="578530" y="52892"/>
                  <a:pt x="586739" y="44612"/>
                  <a:pt x="596946" y="44612"/>
                </a:cubicBezTo>
                <a:close/>
                <a:moveTo>
                  <a:pt x="753766" y="40400"/>
                </a:moveTo>
                <a:cubicBezTo>
                  <a:pt x="766258" y="40400"/>
                  <a:pt x="776394" y="50536"/>
                  <a:pt x="776394" y="63027"/>
                </a:cubicBezTo>
                <a:cubicBezTo>
                  <a:pt x="776394" y="75519"/>
                  <a:pt x="766258" y="85726"/>
                  <a:pt x="753766" y="85655"/>
                </a:cubicBezTo>
                <a:cubicBezTo>
                  <a:pt x="741275" y="85655"/>
                  <a:pt x="731139" y="75519"/>
                  <a:pt x="731139" y="63027"/>
                </a:cubicBezTo>
                <a:cubicBezTo>
                  <a:pt x="731139" y="50536"/>
                  <a:pt x="741275" y="40400"/>
                  <a:pt x="753766" y="40400"/>
                </a:cubicBezTo>
                <a:close/>
                <a:moveTo>
                  <a:pt x="832283" y="37973"/>
                </a:moveTo>
                <a:cubicBezTo>
                  <a:pt x="846131" y="37973"/>
                  <a:pt x="857337" y="49180"/>
                  <a:pt x="857337" y="63027"/>
                </a:cubicBezTo>
                <a:cubicBezTo>
                  <a:pt x="857337" y="76875"/>
                  <a:pt x="846059" y="88153"/>
                  <a:pt x="832283" y="88153"/>
                </a:cubicBezTo>
                <a:cubicBezTo>
                  <a:pt x="818436" y="88153"/>
                  <a:pt x="807229" y="76875"/>
                  <a:pt x="807229" y="63027"/>
                </a:cubicBezTo>
                <a:cubicBezTo>
                  <a:pt x="807229" y="49180"/>
                  <a:pt x="818436" y="37973"/>
                  <a:pt x="832283" y="37973"/>
                </a:cubicBezTo>
                <a:close/>
                <a:moveTo>
                  <a:pt x="8566" y="15275"/>
                </a:moveTo>
                <a:cubicBezTo>
                  <a:pt x="11492" y="15275"/>
                  <a:pt x="14062" y="16774"/>
                  <a:pt x="15632" y="19058"/>
                </a:cubicBezTo>
                <a:cubicBezTo>
                  <a:pt x="16489" y="20414"/>
                  <a:pt x="17060" y="22056"/>
                  <a:pt x="17060" y="23841"/>
                </a:cubicBezTo>
                <a:cubicBezTo>
                  <a:pt x="17060" y="24412"/>
                  <a:pt x="17060" y="24983"/>
                  <a:pt x="16917" y="25554"/>
                </a:cubicBezTo>
                <a:cubicBezTo>
                  <a:pt x="16703" y="26696"/>
                  <a:pt x="16275" y="27695"/>
                  <a:pt x="15632" y="28623"/>
                </a:cubicBezTo>
                <a:cubicBezTo>
                  <a:pt x="14062" y="30907"/>
                  <a:pt x="11492" y="32406"/>
                  <a:pt x="8566" y="32406"/>
                </a:cubicBezTo>
                <a:cubicBezTo>
                  <a:pt x="7923" y="32406"/>
                  <a:pt x="7352" y="32335"/>
                  <a:pt x="6852" y="32192"/>
                </a:cubicBezTo>
                <a:cubicBezTo>
                  <a:pt x="5139" y="31835"/>
                  <a:pt x="3640" y="30979"/>
                  <a:pt x="2498" y="29836"/>
                </a:cubicBezTo>
                <a:cubicBezTo>
                  <a:pt x="2141" y="29480"/>
                  <a:pt x="1784" y="29051"/>
                  <a:pt x="1428" y="28623"/>
                </a:cubicBezTo>
                <a:cubicBezTo>
                  <a:pt x="785" y="27695"/>
                  <a:pt x="357" y="26696"/>
                  <a:pt x="143" y="25554"/>
                </a:cubicBezTo>
                <a:cubicBezTo>
                  <a:pt x="71" y="24983"/>
                  <a:pt x="0" y="24412"/>
                  <a:pt x="0" y="23841"/>
                </a:cubicBezTo>
                <a:cubicBezTo>
                  <a:pt x="0" y="23270"/>
                  <a:pt x="71" y="22627"/>
                  <a:pt x="143" y="22127"/>
                </a:cubicBezTo>
                <a:cubicBezTo>
                  <a:pt x="428" y="20985"/>
                  <a:pt x="857" y="19986"/>
                  <a:pt x="1428" y="19058"/>
                </a:cubicBezTo>
                <a:cubicBezTo>
                  <a:pt x="1784" y="18630"/>
                  <a:pt x="2141" y="18202"/>
                  <a:pt x="2498" y="17773"/>
                </a:cubicBezTo>
                <a:cubicBezTo>
                  <a:pt x="3640" y="16631"/>
                  <a:pt x="5139" y="15775"/>
                  <a:pt x="6852" y="15418"/>
                </a:cubicBezTo>
                <a:cubicBezTo>
                  <a:pt x="7423" y="15346"/>
                  <a:pt x="7994" y="15275"/>
                  <a:pt x="8566" y="15275"/>
                </a:cubicBezTo>
                <a:close/>
                <a:moveTo>
                  <a:pt x="87011" y="14347"/>
                </a:moveTo>
                <a:cubicBezTo>
                  <a:pt x="92294" y="14347"/>
                  <a:pt x="96505" y="18630"/>
                  <a:pt x="96505" y="23840"/>
                </a:cubicBezTo>
                <a:cubicBezTo>
                  <a:pt x="96505" y="24483"/>
                  <a:pt x="96434" y="25125"/>
                  <a:pt x="96291" y="25768"/>
                </a:cubicBezTo>
                <a:cubicBezTo>
                  <a:pt x="95363" y="30051"/>
                  <a:pt x="91580" y="33263"/>
                  <a:pt x="87011" y="33334"/>
                </a:cubicBezTo>
                <a:cubicBezTo>
                  <a:pt x="82443" y="33334"/>
                  <a:pt x="78589" y="30051"/>
                  <a:pt x="77732" y="25768"/>
                </a:cubicBezTo>
                <a:cubicBezTo>
                  <a:pt x="77589" y="25125"/>
                  <a:pt x="77518" y="24483"/>
                  <a:pt x="77518" y="23840"/>
                </a:cubicBezTo>
                <a:cubicBezTo>
                  <a:pt x="77518" y="18558"/>
                  <a:pt x="81801" y="14347"/>
                  <a:pt x="87011" y="14347"/>
                </a:cubicBezTo>
                <a:close/>
                <a:moveTo>
                  <a:pt x="243832" y="12205"/>
                </a:moveTo>
                <a:cubicBezTo>
                  <a:pt x="250256" y="12205"/>
                  <a:pt x="255467" y="17416"/>
                  <a:pt x="255467" y="23840"/>
                </a:cubicBezTo>
                <a:cubicBezTo>
                  <a:pt x="255467" y="24625"/>
                  <a:pt x="255395" y="25410"/>
                  <a:pt x="255253" y="26195"/>
                </a:cubicBezTo>
                <a:cubicBezTo>
                  <a:pt x="254182" y="31477"/>
                  <a:pt x="249471" y="35475"/>
                  <a:pt x="243832" y="35475"/>
                </a:cubicBezTo>
                <a:cubicBezTo>
                  <a:pt x="238193" y="35475"/>
                  <a:pt x="233482" y="31477"/>
                  <a:pt x="232411" y="26195"/>
                </a:cubicBezTo>
                <a:cubicBezTo>
                  <a:pt x="232268" y="25410"/>
                  <a:pt x="232197" y="24625"/>
                  <a:pt x="232197" y="23840"/>
                </a:cubicBezTo>
                <a:cubicBezTo>
                  <a:pt x="232197" y="17416"/>
                  <a:pt x="237408" y="12205"/>
                  <a:pt x="243832" y="12205"/>
                </a:cubicBezTo>
                <a:close/>
                <a:moveTo>
                  <a:pt x="322349" y="10921"/>
                </a:moveTo>
                <a:cubicBezTo>
                  <a:pt x="324990" y="10921"/>
                  <a:pt x="327489" y="11778"/>
                  <a:pt x="329559" y="13134"/>
                </a:cubicBezTo>
                <a:cubicBezTo>
                  <a:pt x="332913" y="15489"/>
                  <a:pt x="335198" y="19415"/>
                  <a:pt x="335198" y="23841"/>
                </a:cubicBezTo>
                <a:cubicBezTo>
                  <a:pt x="335198" y="24697"/>
                  <a:pt x="335055" y="25554"/>
                  <a:pt x="334912" y="26410"/>
                </a:cubicBezTo>
                <a:cubicBezTo>
                  <a:pt x="334270" y="29765"/>
                  <a:pt x="332271" y="32620"/>
                  <a:pt x="329559" y="34476"/>
                </a:cubicBezTo>
                <a:cubicBezTo>
                  <a:pt x="327489" y="35904"/>
                  <a:pt x="324990" y="36689"/>
                  <a:pt x="322349" y="36689"/>
                </a:cubicBezTo>
                <a:cubicBezTo>
                  <a:pt x="321493" y="36689"/>
                  <a:pt x="320636" y="36546"/>
                  <a:pt x="319780" y="36404"/>
                </a:cubicBezTo>
                <a:cubicBezTo>
                  <a:pt x="314783" y="35404"/>
                  <a:pt x="310786" y="31407"/>
                  <a:pt x="309787" y="26410"/>
                </a:cubicBezTo>
                <a:cubicBezTo>
                  <a:pt x="309572" y="25625"/>
                  <a:pt x="309501" y="24697"/>
                  <a:pt x="309501" y="23841"/>
                </a:cubicBezTo>
                <a:cubicBezTo>
                  <a:pt x="309501" y="17631"/>
                  <a:pt x="313927" y="12420"/>
                  <a:pt x="319780" y="11207"/>
                </a:cubicBezTo>
                <a:cubicBezTo>
                  <a:pt x="320565" y="10992"/>
                  <a:pt x="321493" y="10921"/>
                  <a:pt x="322349" y="10921"/>
                </a:cubicBezTo>
                <a:close/>
                <a:moveTo>
                  <a:pt x="479098" y="7994"/>
                </a:moveTo>
                <a:cubicBezTo>
                  <a:pt x="484594" y="7994"/>
                  <a:pt x="489376" y="10778"/>
                  <a:pt x="492232" y="14989"/>
                </a:cubicBezTo>
                <a:cubicBezTo>
                  <a:pt x="493945" y="17559"/>
                  <a:pt x="494944" y="20557"/>
                  <a:pt x="494944" y="23840"/>
                </a:cubicBezTo>
                <a:cubicBezTo>
                  <a:pt x="494944" y="24982"/>
                  <a:pt x="494873" y="26053"/>
                  <a:pt x="494659" y="27052"/>
                </a:cubicBezTo>
                <a:cubicBezTo>
                  <a:pt x="494230" y="29122"/>
                  <a:pt x="493445" y="30978"/>
                  <a:pt x="492303" y="32691"/>
                </a:cubicBezTo>
                <a:cubicBezTo>
                  <a:pt x="489519" y="36903"/>
                  <a:pt x="484665" y="39615"/>
                  <a:pt x="479098" y="39615"/>
                </a:cubicBezTo>
                <a:cubicBezTo>
                  <a:pt x="477956" y="39615"/>
                  <a:pt x="476885" y="39472"/>
                  <a:pt x="475886" y="39258"/>
                </a:cubicBezTo>
                <a:cubicBezTo>
                  <a:pt x="472816" y="38687"/>
                  <a:pt x="470033" y="37117"/>
                  <a:pt x="467891" y="34975"/>
                </a:cubicBezTo>
                <a:cubicBezTo>
                  <a:pt x="467177" y="34262"/>
                  <a:pt x="466535" y="33477"/>
                  <a:pt x="465964" y="32620"/>
                </a:cubicBezTo>
                <a:cubicBezTo>
                  <a:pt x="464822" y="30978"/>
                  <a:pt x="464037" y="29051"/>
                  <a:pt x="463608" y="26981"/>
                </a:cubicBezTo>
                <a:cubicBezTo>
                  <a:pt x="463466" y="25910"/>
                  <a:pt x="463323" y="24911"/>
                  <a:pt x="463323" y="23769"/>
                </a:cubicBezTo>
                <a:cubicBezTo>
                  <a:pt x="463323" y="22627"/>
                  <a:pt x="463394" y="21556"/>
                  <a:pt x="463608" y="20557"/>
                </a:cubicBezTo>
                <a:cubicBezTo>
                  <a:pt x="464037" y="18487"/>
                  <a:pt x="464822" y="16631"/>
                  <a:pt x="465964" y="14918"/>
                </a:cubicBezTo>
                <a:cubicBezTo>
                  <a:pt x="466535" y="14061"/>
                  <a:pt x="467177" y="13276"/>
                  <a:pt x="467891" y="12562"/>
                </a:cubicBezTo>
                <a:cubicBezTo>
                  <a:pt x="470033" y="10421"/>
                  <a:pt x="472816" y="8922"/>
                  <a:pt x="475886" y="8280"/>
                </a:cubicBezTo>
                <a:cubicBezTo>
                  <a:pt x="476956" y="8137"/>
                  <a:pt x="478027" y="7994"/>
                  <a:pt x="479098" y="7994"/>
                </a:cubicBezTo>
                <a:close/>
                <a:moveTo>
                  <a:pt x="557687" y="6352"/>
                </a:moveTo>
                <a:cubicBezTo>
                  <a:pt x="567323" y="6352"/>
                  <a:pt x="575175" y="14204"/>
                  <a:pt x="575175" y="23840"/>
                </a:cubicBezTo>
                <a:cubicBezTo>
                  <a:pt x="575175" y="24982"/>
                  <a:pt x="575032" y="26196"/>
                  <a:pt x="574818" y="27338"/>
                </a:cubicBezTo>
                <a:cubicBezTo>
                  <a:pt x="573176" y="35332"/>
                  <a:pt x="566110" y="41328"/>
                  <a:pt x="557687" y="41328"/>
                </a:cubicBezTo>
                <a:cubicBezTo>
                  <a:pt x="549264" y="41328"/>
                  <a:pt x="542198" y="35332"/>
                  <a:pt x="540556" y="27338"/>
                </a:cubicBezTo>
                <a:cubicBezTo>
                  <a:pt x="540342" y="26196"/>
                  <a:pt x="540199" y="25053"/>
                  <a:pt x="540199" y="23840"/>
                </a:cubicBezTo>
                <a:cubicBezTo>
                  <a:pt x="540199" y="14204"/>
                  <a:pt x="548051" y="6352"/>
                  <a:pt x="557687" y="6352"/>
                </a:cubicBezTo>
                <a:close/>
                <a:moveTo>
                  <a:pt x="714579" y="2284"/>
                </a:moveTo>
                <a:cubicBezTo>
                  <a:pt x="726428" y="2284"/>
                  <a:pt x="736064" y="11920"/>
                  <a:pt x="736064" y="23769"/>
                </a:cubicBezTo>
                <a:cubicBezTo>
                  <a:pt x="736064" y="25268"/>
                  <a:pt x="735922" y="26696"/>
                  <a:pt x="735636" y="28123"/>
                </a:cubicBezTo>
                <a:cubicBezTo>
                  <a:pt x="733638" y="37974"/>
                  <a:pt x="724929" y="45326"/>
                  <a:pt x="714579" y="45326"/>
                </a:cubicBezTo>
                <a:cubicBezTo>
                  <a:pt x="704229" y="45326"/>
                  <a:pt x="695521" y="37902"/>
                  <a:pt x="693522" y="28123"/>
                </a:cubicBezTo>
                <a:cubicBezTo>
                  <a:pt x="693237" y="26696"/>
                  <a:pt x="693094" y="25268"/>
                  <a:pt x="693094" y="23769"/>
                </a:cubicBezTo>
                <a:cubicBezTo>
                  <a:pt x="693094" y="11920"/>
                  <a:pt x="702730" y="2284"/>
                  <a:pt x="714579" y="2284"/>
                </a:cubicBezTo>
                <a:close/>
                <a:moveTo>
                  <a:pt x="793025" y="0"/>
                </a:moveTo>
                <a:cubicBezTo>
                  <a:pt x="797950" y="0"/>
                  <a:pt x="802518" y="1499"/>
                  <a:pt x="806373" y="4069"/>
                </a:cubicBezTo>
                <a:cubicBezTo>
                  <a:pt x="812725" y="8351"/>
                  <a:pt x="816865" y="15632"/>
                  <a:pt x="816865" y="23841"/>
                </a:cubicBezTo>
                <a:cubicBezTo>
                  <a:pt x="816865" y="25483"/>
                  <a:pt x="816651" y="27053"/>
                  <a:pt x="816366" y="28623"/>
                </a:cubicBezTo>
                <a:cubicBezTo>
                  <a:pt x="815081" y="34833"/>
                  <a:pt x="811369" y="40187"/>
                  <a:pt x="806373" y="43613"/>
                </a:cubicBezTo>
                <a:cubicBezTo>
                  <a:pt x="802518" y="46183"/>
                  <a:pt x="797950" y="47682"/>
                  <a:pt x="793025" y="47682"/>
                </a:cubicBezTo>
                <a:cubicBezTo>
                  <a:pt x="791383" y="47682"/>
                  <a:pt x="789813" y="47467"/>
                  <a:pt x="788242" y="47182"/>
                </a:cubicBezTo>
                <a:cubicBezTo>
                  <a:pt x="778892" y="45255"/>
                  <a:pt x="771611" y="37903"/>
                  <a:pt x="769684" y="28623"/>
                </a:cubicBezTo>
                <a:cubicBezTo>
                  <a:pt x="769327" y="27124"/>
                  <a:pt x="769184" y="25483"/>
                  <a:pt x="769184" y="23841"/>
                </a:cubicBezTo>
                <a:cubicBezTo>
                  <a:pt x="769184" y="12349"/>
                  <a:pt x="777393" y="2712"/>
                  <a:pt x="788242" y="500"/>
                </a:cubicBezTo>
                <a:cubicBezTo>
                  <a:pt x="789741" y="143"/>
                  <a:pt x="791383" y="0"/>
                  <a:pt x="793025" y="0"/>
                </a:cubicBezTo>
                <a:close/>
              </a:path>
            </a:pathLst>
          </a:custGeom>
          <a:gradFill>
            <a:gsLst>
              <a:gs pos="34000">
                <a:srgbClr val="9E4393"/>
              </a:gs>
              <a:gs pos="100000">
                <a:srgbClr val="9E4393"/>
              </a:gs>
            </a:gsLst>
            <a:lin ang="10800000" scaled="0"/>
          </a:gradFill>
          <a:ln w="709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dirty="0">
              <a:ln>
                <a:noFill/>
              </a:ln>
              <a:solidFill>
                <a:prstClr val="black"/>
              </a:solidFill>
              <a:effectLst/>
              <a:uLnTx/>
              <a:uFillTx/>
              <a:latin typeface="Arial" panose="020B0604020202020204"/>
              <a:ea typeface="微软雅黑" panose="020B0503020204020204" charset="-122"/>
              <a:cs typeface="+mn-ea"/>
              <a:sym typeface="+mn-lt"/>
            </a:endParaRPr>
          </a:p>
        </p:txBody>
      </p:sp>
      <p:graphicFrame>
        <p:nvGraphicFramePr>
          <p:cNvPr id="4194306" name="图表 15"/>
          <p:cNvGraphicFramePr/>
          <p:nvPr/>
        </p:nvGraphicFramePr>
        <p:xfrm>
          <a:off x="716647" y="2550225"/>
          <a:ext cx="5059686" cy="3413052"/>
        </p:xfrm>
        <a:graphic>
          <a:graphicData uri="http://schemas.openxmlformats.org/drawingml/2006/chart">
            <c:chart xmlns:c="http://schemas.openxmlformats.org/drawingml/2006/chart" xmlns:r="http://schemas.openxmlformats.org/officeDocument/2006/relationships" r:id="rId1"/>
          </a:graphicData>
        </a:graphic>
      </p:graphicFrame>
      <p:sp>
        <p:nvSpPr>
          <p:cNvPr id="1048614" name="文本框 25"/>
          <p:cNvSpPr txBox="1"/>
          <p:nvPr/>
        </p:nvSpPr>
        <p:spPr>
          <a:xfrm>
            <a:off x="0" y="6404175"/>
            <a:ext cx="1104258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nl-NL"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1.Denning DW et al. Lancet Infect Dis. 2024 Jan 12:S1473-3099(23)00692-8       2.Monzó-Gallo P et al. Med Mycol . 2023 Mar 2;61(3):myad021. </a:t>
            </a:r>
            <a:endPar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15" name="矩形 26"/>
          <p:cNvSpPr/>
          <p:nvPr/>
        </p:nvSpPr>
        <p:spPr>
          <a:xfrm>
            <a:off x="3789109" y="2638218"/>
            <a:ext cx="1867412" cy="33889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预计死亡人数</a:t>
            </a:r>
            <a:r>
              <a:rPr kumimoji="0" lang="en-US" altLang="zh-CN" sz="12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3,752,000</a:t>
            </a:r>
            <a:endParaRPr kumimoji="0" lang="zh-CN" altLang="en-US" sz="12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16" name="文本框 27"/>
          <p:cNvSpPr txBox="1"/>
          <p:nvPr/>
        </p:nvSpPr>
        <p:spPr>
          <a:xfrm>
            <a:off x="6201998" y="1046431"/>
            <a:ext cx="5078810" cy="1023742"/>
          </a:xfrm>
          <a:prstGeom prst="rect">
            <a:avLst/>
          </a:prstGeom>
          <a:noFill/>
        </p:spPr>
        <p:txBody>
          <a:bodyPr wrap="square">
            <a:spAutoFit/>
          </a:bodyPr>
          <a:lstStyle/>
          <a:p>
            <a:pPr marL="228600" marR="0" lvl="0" indent="-22860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回顾性观察研究发现：</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FD</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患者</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2</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周相关</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病死率达</a:t>
            </a:r>
            <a:r>
              <a:rPr kumimoji="0" lang="en-US" altLang="zh-CN"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32.2%</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其中侵袭性曲霉病和毛霉病患者病死率较高，</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其次为念珠菌血症等</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2</a:t>
            </a:r>
            <a:endParaRPr kumimoji="0" lang="zh-CN" altLang="en-US"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83" name="组合 19"/>
          <p:cNvGrpSpPr/>
          <p:nvPr/>
        </p:nvGrpSpPr>
        <p:grpSpPr>
          <a:xfrm>
            <a:off x="6355006" y="2079057"/>
            <a:ext cx="5238078" cy="3716889"/>
            <a:chOff x="6355006" y="2163459"/>
            <a:chExt cx="5238078" cy="3632487"/>
          </a:xfrm>
        </p:grpSpPr>
        <p:grpSp>
          <p:nvGrpSpPr>
            <p:cNvPr id="84" name="组合 28"/>
            <p:cNvGrpSpPr/>
            <p:nvPr/>
          </p:nvGrpSpPr>
          <p:grpSpPr>
            <a:xfrm>
              <a:off x="6355006" y="2163459"/>
              <a:ext cx="5238078" cy="3632487"/>
              <a:chOff x="6249128" y="2405194"/>
              <a:chExt cx="5238078" cy="3642947"/>
            </a:xfrm>
          </p:grpSpPr>
          <p:pic>
            <p:nvPicPr>
              <p:cNvPr id="2097157" name="图片 29"/>
              <p:cNvPicPr>
                <a:picLocks noChangeAspect="1"/>
              </p:cNvPicPr>
              <p:nvPr/>
            </p:nvPicPr>
            <p:blipFill>
              <a:blip r:embed="rId2" cstate="print"/>
              <a:stretch>
                <a:fillRect/>
              </a:stretch>
            </p:blipFill>
            <p:spPr>
              <a:xfrm>
                <a:off x="6489510" y="2405194"/>
                <a:ext cx="4420007" cy="3410362"/>
              </a:xfrm>
              <a:prstGeom prst="rect">
                <a:avLst/>
              </a:prstGeom>
            </p:spPr>
          </p:pic>
          <p:sp>
            <p:nvSpPr>
              <p:cNvPr id="1048617" name="文本框 30"/>
              <p:cNvSpPr txBox="1"/>
              <p:nvPr/>
            </p:nvSpPr>
            <p:spPr>
              <a:xfrm rot="16200000">
                <a:off x="5921069" y="3806383"/>
                <a:ext cx="925515" cy="2693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患者生存率</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18" name="文本框 31"/>
              <p:cNvSpPr txBox="1"/>
              <p:nvPr/>
            </p:nvSpPr>
            <p:spPr>
              <a:xfrm>
                <a:off x="8597001" y="5771142"/>
                <a:ext cx="95410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时间（天）</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19" name="文本框 32"/>
              <p:cNvSpPr txBox="1"/>
              <p:nvPr/>
            </p:nvSpPr>
            <p:spPr>
              <a:xfrm>
                <a:off x="10109298" y="2620439"/>
                <a:ext cx="80021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ED7D31"/>
                    </a:solidFill>
                    <a:effectLst/>
                    <a:uLnTx/>
                    <a:uFillTx/>
                    <a:latin typeface="Times New Roman" panose="02020603050405020304" pitchFamily="18" charset="0"/>
                    <a:ea typeface="微软雅黑" panose="020B0503020204020204" charset="-122"/>
                    <a:cs typeface="Times New Roman" panose="02020603050405020304" pitchFamily="18" charset="0"/>
                  </a:rPr>
                  <a:t>隐球菌病</a:t>
                </a:r>
                <a:endParaRPr kumimoji="0" lang="zh-CN" altLang="en-US" sz="1200" b="0" i="0" u="none" strike="noStrike" kern="1200" cap="none" spc="0" normalizeH="0" baseline="0" noProof="0" dirty="0">
                  <a:ln>
                    <a:noFill/>
                  </a:ln>
                  <a:solidFill>
                    <a:srgbClr val="ED7D31"/>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20" name="文本框 33"/>
              <p:cNvSpPr txBox="1"/>
              <p:nvPr/>
            </p:nvSpPr>
            <p:spPr>
              <a:xfrm>
                <a:off x="9155191" y="3136276"/>
                <a:ext cx="95410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肺孢子菌病</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21" name="文本框 34"/>
              <p:cNvSpPr txBox="1"/>
              <p:nvPr/>
            </p:nvSpPr>
            <p:spPr>
              <a:xfrm>
                <a:off x="9163486" y="3511740"/>
                <a:ext cx="95410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0000C9"/>
                    </a:solidFill>
                    <a:effectLst/>
                    <a:uLnTx/>
                    <a:uFillTx/>
                    <a:latin typeface="Times New Roman" panose="02020603050405020304" pitchFamily="18" charset="0"/>
                    <a:ea typeface="微软雅黑" panose="020B0503020204020204" charset="-122"/>
                    <a:cs typeface="Times New Roman" panose="02020603050405020304" pitchFamily="18" charset="0"/>
                  </a:rPr>
                  <a:t>念珠菌血症</a:t>
                </a:r>
                <a:endParaRPr kumimoji="0" lang="zh-CN" altLang="en-US" sz="1200" b="0" i="0" u="none" strike="noStrike" kern="1200" cap="none" spc="0" normalizeH="0" baseline="0" noProof="0" dirty="0">
                  <a:ln>
                    <a:noFill/>
                  </a:ln>
                  <a:solidFill>
                    <a:srgbClr val="0000C9"/>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22" name="文本框 35"/>
              <p:cNvSpPr txBox="1"/>
              <p:nvPr/>
            </p:nvSpPr>
            <p:spPr>
              <a:xfrm>
                <a:off x="10228428" y="4216520"/>
                <a:ext cx="64633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C00000"/>
                    </a:solidFill>
                    <a:effectLst/>
                    <a:uLnTx/>
                    <a:uFillTx/>
                    <a:latin typeface="Times New Roman" panose="02020603050405020304" pitchFamily="18" charset="0"/>
                    <a:ea typeface="微软雅黑" panose="020B0503020204020204" charset="-122"/>
                    <a:cs typeface="Times New Roman" panose="02020603050405020304" pitchFamily="18" charset="0"/>
                  </a:rPr>
                  <a:t>毛霉病</a:t>
                </a:r>
                <a:endParaRPr kumimoji="0" lang="zh-CN" altLang="en-US" sz="1200" b="0" i="0" u="none" strike="noStrike" kern="1200" cap="none" spc="0" normalizeH="0" baseline="0" noProof="0" dirty="0">
                  <a:ln>
                    <a:noFill/>
                  </a:ln>
                  <a:solidFill>
                    <a:srgbClr val="C00000"/>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23" name="文本框 36"/>
              <p:cNvSpPr txBox="1"/>
              <p:nvPr/>
            </p:nvSpPr>
            <p:spPr>
              <a:xfrm>
                <a:off x="10379210" y="3941080"/>
                <a:ext cx="110799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FFC000">
                        <a:lumMod val="75000"/>
                      </a:srgbClr>
                    </a:solidFill>
                    <a:effectLst/>
                    <a:uLnTx/>
                    <a:uFillTx/>
                    <a:latin typeface="Times New Roman" panose="02020603050405020304" pitchFamily="18" charset="0"/>
                    <a:ea typeface="微软雅黑" panose="020B0503020204020204" charset="-122"/>
                    <a:cs typeface="Times New Roman" panose="02020603050405020304" pitchFamily="18" charset="0"/>
                  </a:rPr>
                  <a:t>侵袭性曲霉病</a:t>
                </a:r>
                <a:endParaRPr kumimoji="0" lang="zh-CN" altLang="en-US" sz="1200" b="0" i="0" u="none" strike="noStrike" kern="1200" cap="none" spc="0" normalizeH="0" baseline="0" noProof="0" dirty="0">
                  <a:ln>
                    <a:noFill/>
                  </a:ln>
                  <a:solidFill>
                    <a:srgbClr val="FFC000">
                      <a:lumMod val="75000"/>
                    </a:srgbClr>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sp>
          <p:nvSpPr>
            <p:cNvPr id="1048624" name="矩形 14"/>
            <p:cNvSpPr/>
            <p:nvPr/>
          </p:nvSpPr>
          <p:spPr>
            <a:xfrm>
              <a:off x="8489482" y="3108958"/>
              <a:ext cx="2377440" cy="192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25" name="矩形 16"/>
            <p:cNvSpPr/>
            <p:nvPr/>
          </p:nvSpPr>
          <p:spPr>
            <a:xfrm>
              <a:off x="8622632" y="2924474"/>
              <a:ext cx="2176913" cy="271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26" name="矩形 17"/>
            <p:cNvSpPr/>
            <p:nvPr/>
          </p:nvSpPr>
          <p:spPr>
            <a:xfrm rot="2296782">
              <a:off x="7061267" y="2799824"/>
              <a:ext cx="1317691" cy="18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27" name="矩形 18"/>
            <p:cNvSpPr/>
            <p:nvPr/>
          </p:nvSpPr>
          <p:spPr>
            <a:xfrm rot="21235158">
              <a:off x="7772427" y="2797683"/>
              <a:ext cx="1317691" cy="3713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侵袭性曲霉病的相关危险因素</a:t>
            </a:r>
            <a:endParaRPr lang="zh-CN" altLang="en-US" dirty="0"/>
          </a:p>
        </p:txBody>
      </p:sp>
      <p:pic>
        <p:nvPicPr>
          <p:cNvPr id="5" name="内容占位符 4"/>
          <p:cNvPicPr>
            <a:picLocks noGrp="1" noChangeAspect="1"/>
          </p:cNvPicPr>
          <p:nvPr>
            <p:ph idx="1"/>
          </p:nvPr>
        </p:nvPicPr>
        <p:blipFill>
          <a:blip r:embed="rId1"/>
          <a:stretch>
            <a:fillRect/>
          </a:stretch>
        </p:blipFill>
        <p:spPr>
          <a:xfrm>
            <a:off x="1154297" y="1414341"/>
            <a:ext cx="10199503" cy="4731222"/>
          </a:xfrm>
        </p:spPr>
      </p:pic>
      <p:sp>
        <p:nvSpPr>
          <p:cNvPr id="6" name="文本框 11"/>
          <p:cNvSpPr txBox="1"/>
          <p:nvPr/>
        </p:nvSpPr>
        <p:spPr>
          <a:xfrm>
            <a:off x="325582" y="6514837"/>
            <a:ext cx="11517168" cy="246221"/>
          </a:xfrm>
          <a:prstGeom prst="rect">
            <a:avLst/>
          </a:prstGeom>
          <a:noFill/>
        </p:spPr>
        <p:txBody>
          <a:bodyPr wrap="square">
            <a:spAutoFit/>
          </a:bodyPr>
          <a:lstStyle/>
          <a:p>
            <a:r>
              <a:rPr lang="en-US" altLang="pt-BR" sz="1000" dirty="0">
                <a:latin typeface="Times New Roman" panose="02020603050405020304" pitchFamily="18" charset="0"/>
                <a:ea typeface="微软雅黑" panose="020B0503020204020204" charset="-122"/>
                <a:cs typeface="Times New Roman" panose="02020603050405020304" pitchFamily="18" charset="0"/>
                <a:sym typeface="+mn-ea"/>
              </a:rPr>
              <a:t>4. </a:t>
            </a:r>
            <a:r>
              <a:rPr lang="es-ES" altLang="zh-CN" sz="1000" dirty="0">
                <a:latin typeface="Times New Roman" panose="02020603050405020304" pitchFamily="18" charset="0"/>
                <a:ea typeface="微软雅黑" panose="020B0503020204020204" charset="-122"/>
                <a:cs typeface="Times New Roman" panose="02020603050405020304" pitchFamily="18" charset="0"/>
              </a:rPr>
              <a:t>von Lilienfeld-Toal M et al. Dtsch Arztebl Int. 2019 Apr 19;116(16)271-278</a:t>
            </a:r>
            <a:r>
              <a:rPr lang="en-US" altLang="zh-CN" sz="1000" dirty="0">
                <a:solidFill>
                  <a:srgbClr val="231F20"/>
                </a:solidFill>
                <a:latin typeface="Times New Roman" panose="02020603050405020304" pitchFamily="18" charset="0"/>
                <a:ea typeface="微软雅黑" panose="020B0503020204020204" charset="-122"/>
                <a:cs typeface="Times New Roman" panose="02020603050405020304" pitchFamily="18" charset="0"/>
              </a:rPr>
              <a:t>      5. Fabián Salazar et al. Clin </a:t>
            </a:r>
            <a:r>
              <a:rPr lang="en-US" altLang="zh-CN" sz="1000" dirty="0" err="1">
                <a:solidFill>
                  <a:srgbClr val="231F20"/>
                </a:solidFill>
                <a:latin typeface="Times New Roman" panose="02020603050405020304" pitchFamily="18" charset="0"/>
                <a:ea typeface="微软雅黑" panose="020B0503020204020204" charset="-122"/>
                <a:cs typeface="Times New Roman" panose="02020603050405020304" pitchFamily="18" charset="0"/>
              </a:rPr>
              <a:t>Microbiol</a:t>
            </a:r>
            <a:r>
              <a:rPr lang="en-US" altLang="zh-CN" sz="1000" dirty="0">
                <a:solidFill>
                  <a:srgbClr val="231F20"/>
                </a:solidFill>
                <a:latin typeface="Times New Roman" panose="02020603050405020304" pitchFamily="18" charset="0"/>
                <a:ea typeface="微软雅黑" panose="020B0503020204020204" charset="-122"/>
                <a:cs typeface="Times New Roman" panose="02020603050405020304" pitchFamily="18" charset="0"/>
              </a:rPr>
              <a:t> Rev . 2022 Jan 19;35(1):e0009421</a:t>
            </a:r>
            <a:endParaRPr lang="es-ES" altLang="zh-CN" sz="1000" dirty="0">
              <a:latin typeface="Times New Roman" panose="02020603050405020304" pitchFamily="18" charset="0"/>
              <a:ea typeface="微软雅黑" panose="020B0503020204020204" charset="-122"/>
              <a:cs typeface="Times New Roman" panose="02020603050405020304" pitchFamily="18" charset="0"/>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8" name="组合 2"/>
          <p:cNvGrpSpPr/>
          <p:nvPr/>
        </p:nvGrpSpPr>
        <p:grpSpPr>
          <a:xfrm>
            <a:off x="513162" y="1747778"/>
            <a:ext cx="11146054" cy="4125200"/>
            <a:chOff x="479425" y="696302"/>
            <a:chExt cx="11236325" cy="724722"/>
          </a:xfrm>
        </p:grpSpPr>
        <p:sp>
          <p:nvSpPr>
            <p:cNvPr id="1048658" name="矩形 7"/>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36" name="直接连接符 9"/>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37" name="直接连接符 12"/>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sp>
        <p:nvSpPr>
          <p:cNvPr id="1048659" name="标题 1"/>
          <p:cNvSpPr>
            <a:spLocks noGrp="1"/>
          </p:cNvSpPr>
          <p:nvPr>
            <p:ph type="title"/>
          </p:nvPr>
        </p:nvSpPr>
        <p:spPr/>
        <p:txBody>
          <a:bodyPr/>
          <a:lstStyle/>
          <a:p>
            <a:r>
              <a:rPr lang="zh-CN" altLang="en-US" dirty="0"/>
              <a:t>曲霉等霉菌已成为临床中的常见检出致病真菌</a:t>
            </a:r>
            <a:endParaRPr lang="zh-CN" altLang="en-US" dirty="0"/>
          </a:p>
        </p:txBody>
      </p:sp>
      <p:sp>
        <p:nvSpPr>
          <p:cNvPr id="1048660" name="标题 1"/>
          <p:cNvSpPr txBox="1"/>
          <p:nvPr/>
        </p:nvSpPr>
        <p:spPr>
          <a:xfrm>
            <a:off x="645691" y="933652"/>
            <a:ext cx="10808372" cy="654517"/>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2400" b="1" kern="1200">
                <a:solidFill>
                  <a:srgbClr val="9E3295"/>
                </a:solidFill>
                <a:latin typeface="Times New Roman" panose="02020603050405020304" pitchFamily="18" charset="0"/>
                <a:ea typeface="微软雅黑" panose="020B0503020204020204" charset="-122"/>
                <a:cs typeface="Times New Roman" panose="02020603050405020304" pitchFamily="18" charset="0"/>
              </a:defRPr>
            </a:lvl1pPr>
          </a:lstStyle>
          <a:p>
            <a:pPr marL="285750" marR="0" lvl="0" indent="-285750" algn="l" defTabSz="914400" rtl="0" eaLnBrk="1" fontAlgn="auto" latinLnBrk="0" hangingPunct="1">
              <a:lnSpc>
                <a:spcPct val="150000"/>
              </a:lnSpc>
              <a:spcBef>
                <a:spcPct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首项对全球真菌病年度发病率预测的研究报告显示：</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侵袭性曲霉病年发病人数及粗计死亡人数均最高</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其次为侵袭性念珠菌病</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念珠菌血症、隐球菌脑膜炎、毛霉病、播散性组织胞浆菌病等</a:t>
            </a:r>
            <a:endPar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aphicFrame>
        <p:nvGraphicFramePr>
          <p:cNvPr id="4194308" name="图表 8"/>
          <p:cNvGraphicFramePr/>
          <p:nvPr/>
        </p:nvGraphicFramePr>
        <p:xfrm>
          <a:off x="658728" y="2184935"/>
          <a:ext cx="10619428" cy="3788322"/>
        </p:xfrm>
        <a:graphic>
          <a:graphicData uri="http://schemas.openxmlformats.org/drawingml/2006/chart">
            <c:chart xmlns:c="http://schemas.openxmlformats.org/drawingml/2006/chart" xmlns:r="http://schemas.openxmlformats.org/officeDocument/2006/relationships" r:id="rId1"/>
          </a:graphicData>
        </a:graphic>
      </p:graphicFrame>
      <p:sp>
        <p:nvSpPr>
          <p:cNvPr id="1048661" name="文本框 10"/>
          <p:cNvSpPr txBox="1"/>
          <p:nvPr/>
        </p:nvSpPr>
        <p:spPr>
          <a:xfrm rot="16200000">
            <a:off x="22737" y="3716637"/>
            <a:ext cx="203132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估计的全球年发病数（千）</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62" name="文本框 11"/>
          <p:cNvSpPr txBox="1"/>
          <p:nvPr/>
        </p:nvSpPr>
        <p:spPr>
          <a:xfrm>
            <a:off x="0" y="6404175"/>
            <a:ext cx="1104258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nl-NL"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Denning DW et al. Lancet Infect Dis. 2024 Jan 12:S1473-3099(23)00692-8</a:t>
            </a:r>
            <a:endPar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99" name="组合 19"/>
          <p:cNvGrpSpPr/>
          <p:nvPr/>
        </p:nvGrpSpPr>
        <p:grpSpPr>
          <a:xfrm>
            <a:off x="2557111" y="1790298"/>
            <a:ext cx="2698283" cy="962534"/>
            <a:chOff x="2557111" y="1790298"/>
            <a:chExt cx="2698283" cy="962534"/>
          </a:xfrm>
        </p:grpSpPr>
        <p:sp>
          <p:nvSpPr>
            <p:cNvPr id="1048663" name="矩形 4"/>
            <p:cNvSpPr/>
            <p:nvPr/>
          </p:nvSpPr>
          <p:spPr>
            <a:xfrm>
              <a:off x="2560320" y="1867301"/>
              <a:ext cx="125129" cy="105877"/>
            </a:xfrm>
            <a:prstGeom prst="rect">
              <a:avLst/>
            </a:prstGeom>
            <a:solidFill>
              <a:srgbClr val="953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64" name="文本框 6"/>
            <p:cNvSpPr txBox="1"/>
            <p:nvPr/>
          </p:nvSpPr>
          <p:spPr>
            <a:xfrm>
              <a:off x="2723950" y="1790298"/>
              <a:ext cx="124165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COPD</a:t>
              </a:r>
              <a:r>
                <a:rPr kumimoji="0" lang="zh-CN" altLang="en-US" sz="11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中的</a:t>
              </a:r>
              <a:r>
                <a:rPr kumimoji="0" lang="en-US" altLang="zh-CN" sz="11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A </a:t>
              </a:r>
              <a:endParaRPr kumimoji="0" lang="zh-CN" altLang="en-US" sz="11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65" name="矩形 13"/>
            <p:cNvSpPr/>
            <p:nvPr/>
          </p:nvSpPr>
          <p:spPr>
            <a:xfrm>
              <a:off x="2558716" y="2048576"/>
              <a:ext cx="125129" cy="105877"/>
            </a:xfrm>
            <a:prstGeom prst="rect">
              <a:avLst/>
            </a:prstGeom>
            <a:solidFill>
              <a:srgbClr val="E1CD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66" name="文本框 14"/>
            <p:cNvSpPr txBox="1"/>
            <p:nvPr/>
          </p:nvSpPr>
          <p:spPr>
            <a:xfrm>
              <a:off x="2722345" y="1971574"/>
              <a:ext cx="124165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CU</a:t>
              </a:r>
              <a:r>
                <a:rPr kumimoji="0" lang="zh-CN" altLang="en-US" sz="11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中的</a:t>
              </a:r>
              <a:r>
                <a:rPr kumimoji="0" lang="en-US" altLang="zh-CN" sz="11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A </a:t>
              </a:r>
              <a:endParaRPr kumimoji="0" lang="zh-CN" altLang="en-US" sz="11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67" name="矩形 15"/>
            <p:cNvSpPr/>
            <p:nvPr/>
          </p:nvSpPr>
          <p:spPr>
            <a:xfrm>
              <a:off x="2557111" y="2239476"/>
              <a:ext cx="125129" cy="105877"/>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68" name="文本框 16"/>
            <p:cNvSpPr txBox="1"/>
            <p:nvPr/>
          </p:nvSpPr>
          <p:spPr>
            <a:xfrm>
              <a:off x="2733574" y="2175309"/>
              <a:ext cx="100102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肺癌中的</a:t>
              </a: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A </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69" name="矩形 17"/>
            <p:cNvSpPr/>
            <p:nvPr/>
          </p:nvSpPr>
          <p:spPr>
            <a:xfrm>
              <a:off x="2565131" y="2430377"/>
              <a:ext cx="125129" cy="10587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70" name="文本框 18"/>
            <p:cNvSpPr txBox="1"/>
            <p:nvPr/>
          </p:nvSpPr>
          <p:spPr>
            <a:xfrm>
              <a:off x="2683843" y="2337334"/>
              <a:ext cx="2571551"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白血病、淋巴瘤和</a:t>
              </a:r>
              <a:endPar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异基因</a:t>
              </a: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HSCT</a:t>
              </a: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中的</a:t>
              </a: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A </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sp>
        <p:nvSpPr>
          <p:cNvPr id="1048671" name="矩形 22"/>
          <p:cNvSpPr/>
          <p:nvPr/>
        </p:nvSpPr>
        <p:spPr>
          <a:xfrm>
            <a:off x="6221128" y="3015913"/>
            <a:ext cx="125129" cy="105877"/>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72" name="文本框 23"/>
          <p:cNvSpPr txBox="1"/>
          <p:nvPr/>
        </p:nvSpPr>
        <p:spPr>
          <a:xfrm>
            <a:off x="6397591" y="2951746"/>
            <a:ext cx="100102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念珠菌血症</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73" name="矩形 24"/>
          <p:cNvSpPr/>
          <p:nvPr/>
        </p:nvSpPr>
        <p:spPr>
          <a:xfrm>
            <a:off x="6219524" y="3254941"/>
            <a:ext cx="125129" cy="105877"/>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74" name="文本框 25"/>
          <p:cNvSpPr txBox="1"/>
          <p:nvPr/>
        </p:nvSpPr>
        <p:spPr>
          <a:xfrm>
            <a:off x="6395987" y="3190774"/>
            <a:ext cx="135235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非念珠菌血症的</a:t>
            </a: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C</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75" name="矩形 28"/>
          <p:cNvSpPr/>
          <p:nvPr/>
        </p:nvSpPr>
        <p:spPr>
          <a:xfrm>
            <a:off x="9857873" y="4361845"/>
            <a:ext cx="125129" cy="105877"/>
          </a:xfrm>
          <a:prstGeom prst="rect">
            <a:avLst/>
          </a:prstGeom>
          <a:solidFill>
            <a:srgbClr val="DAE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76" name="文本框 29"/>
          <p:cNvSpPr txBox="1"/>
          <p:nvPr/>
        </p:nvSpPr>
        <p:spPr>
          <a:xfrm>
            <a:off x="10034336" y="4297678"/>
            <a:ext cx="161432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IDS</a:t>
            </a: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患者隐球菌脑膜炎</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77" name="矩形 30"/>
          <p:cNvSpPr/>
          <p:nvPr/>
        </p:nvSpPr>
        <p:spPr>
          <a:xfrm>
            <a:off x="9856269" y="4600873"/>
            <a:ext cx="125129" cy="105877"/>
          </a:xfrm>
          <a:prstGeom prst="rect">
            <a:avLst/>
          </a:prstGeom>
          <a:solidFill>
            <a:srgbClr val="8FA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048678" name="文本框 31"/>
          <p:cNvSpPr txBox="1"/>
          <p:nvPr/>
        </p:nvSpPr>
        <p:spPr>
          <a:xfrm>
            <a:off x="9973098" y="4536706"/>
            <a:ext cx="173519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非</a:t>
            </a: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LDS</a:t>
            </a:r>
            <a:r>
              <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患者隐球菌脑膜炎</a:t>
            </a:r>
            <a:endParaRPr kumimoji="0" lang="zh-CN" altLang="en-US" sz="105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82" name="标题 1"/>
          <p:cNvSpPr>
            <a:spLocks noGrp="1"/>
          </p:cNvSpPr>
          <p:nvPr>
            <p:ph type="title"/>
          </p:nvPr>
        </p:nvSpPr>
        <p:spPr/>
        <p:txBody>
          <a:bodyPr/>
          <a:lstStyle/>
          <a:p>
            <a:r>
              <a:rPr lang="zh-CN" altLang="en-US" dirty="0"/>
              <a:t>烟曲霉是最常见的曲霉菌种，毛霉属、根霉属是常见的毛霉菌种</a:t>
            </a:r>
            <a:endParaRPr lang="zh-CN" altLang="en-US" dirty="0"/>
          </a:p>
        </p:txBody>
      </p:sp>
      <p:grpSp>
        <p:nvGrpSpPr>
          <p:cNvPr id="103" name="组合 3"/>
          <p:cNvGrpSpPr/>
          <p:nvPr/>
        </p:nvGrpSpPr>
        <p:grpSpPr>
          <a:xfrm>
            <a:off x="6094088" y="926020"/>
            <a:ext cx="5459375" cy="4937312"/>
            <a:chOff x="479425" y="696302"/>
            <a:chExt cx="11236325" cy="724722"/>
          </a:xfrm>
        </p:grpSpPr>
        <p:sp>
          <p:nvSpPr>
            <p:cNvPr id="1048683" name="矩形 4"/>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38" name="直接连接符 5"/>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39" name="直接连接符 6"/>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grpSp>
        <p:nvGrpSpPr>
          <p:cNvPr id="104" name="组合 7"/>
          <p:cNvGrpSpPr/>
          <p:nvPr/>
        </p:nvGrpSpPr>
        <p:grpSpPr>
          <a:xfrm>
            <a:off x="513162" y="935666"/>
            <a:ext cx="5459375" cy="4937312"/>
            <a:chOff x="479425" y="696302"/>
            <a:chExt cx="11236325" cy="724722"/>
          </a:xfrm>
        </p:grpSpPr>
        <p:sp>
          <p:nvSpPr>
            <p:cNvPr id="1048684" name="矩形 8"/>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40" name="直接连接符 9"/>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41" name="直接连接符 10"/>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sp>
        <p:nvSpPr>
          <p:cNvPr id="1048685" name="文本框 12"/>
          <p:cNvSpPr txBox="1"/>
          <p:nvPr/>
        </p:nvSpPr>
        <p:spPr>
          <a:xfrm>
            <a:off x="566803" y="1004593"/>
            <a:ext cx="5307904" cy="1156727"/>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6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我国一项多中心回顾性研究对霉菌感染的流行病学进行分析，结果显示：呼吸道霉菌感染患者中，烟曲霉检出率最高，占</a:t>
            </a:r>
            <a:r>
              <a:rPr kumimoji="0" lang="en-US" altLang="zh-CN" sz="16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47.8%</a:t>
            </a:r>
            <a:r>
              <a:rPr kumimoji="0" lang="en-US" altLang="zh-CN" sz="16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a:t>
            </a:r>
            <a:endParaRPr kumimoji="0" lang="en-US" altLang="zh-CN" sz="16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105" name="组合 13"/>
          <p:cNvGrpSpPr/>
          <p:nvPr/>
        </p:nvGrpSpPr>
        <p:grpSpPr>
          <a:xfrm>
            <a:off x="693295" y="2358717"/>
            <a:ext cx="5101113" cy="3422809"/>
            <a:chOff x="6369699" y="2999509"/>
            <a:chExt cx="5036819" cy="3106950"/>
          </a:xfrm>
        </p:grpSpPr>
        <p:graphicFrame>
          <p:nvGraphicFramePr>
            <p:cNvPr id="4194309" name="图表 14"/>
            <p:cNvGraphicFramePr/>
            <p:nvPr/>
          </p:nvGraphicFramePr>
          <p:xfrm>
            <a:off x="6680844" y="2999509"/>
            <a:ext cx="4725674" cy="3106950"/>
          </p:xfrm>
          <a:graphic>
            <a:graphicData uri="http://schemas.openxmlformats.org/drawingml/2006/chart">
              <c:chart xmlns:c="http://schemas.openxmlformats.org/drawingml/2006/chart" xmlns:r="http://schemas.openxmlformats.org/officeDocument/2006/relationships" r:id="rId1"/>
            </a:graphicData>
          </a:graphic>
        </p:graphicFrame>
        <p:sp>
          <p:nvSpPr>
            <p:cNvPr id="1048686" name="文本框 7"/>
            <p:cNvSpPr txBox="1"/>
            <p:nvPr/>
          </p:nvSpPr>
          <p:spPr>
            <a:xfrm rot="16200000">
              <a:off x="5461342" y="4313234"/>
              <a:ext cx="2098561" cy="28184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Times New Roman" panose="02020603050405020304" pitchFamily="18" charset="0"/>
                </a:rPr>
                <a:t>百分比</a:t>
              </a:r>
              <a:endPar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Times New Roman" panose="02020603050405020304" pitchFamily="18" charset="0"/>
                <a:sym typeface="+mn-ea"/>
              </a:endParaRPr>
            </a:p>
          </p:txBody>
        </p:sp>
      </p:grpSp>
      <p:sp>
        <p:nvSpPr>
          <p:cNvPr id="1048687" name="文本框 16"/>
          <p:cNvSpPr txBox="1"/>
          <p:nvPr/>
        </p:nvSpPr>
        <p:spPr>
          <a:xfrm>
            <a:off x="0" y="6404175"/>
            <a:ext cx="1104258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张丽等</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 </a:t>
            </a:r>
            <a:r>
              <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协和医学杂志</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 2023;14(3):559-565</a:t>
            </a:r>
            <a:endPar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endParaRPr>
          </a:p>
        </p:txBody>
      </p:sp>
      <p:sp>
        <p:nvSpPr>
          <p:cNvPr id="1048688" name="文本框 18"/>
          <p:cNvSpPr txBox="1"/>
          <p:nvPr/>
        </p:nvSpPr>
        <p:spPr>
          <a:xfrm>
            <a:off x="6133413" y="1024646"/>
            <a:ext cx="5188303" cy="787523"/>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CHIFNET</a:t>
            </a:r>
            <a:r>
              <a:rPr kumimoji="0" lang="zh-CN" altLang="en-US" sz="16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数据显示：毛霉属是毛霉目种最常见菌种，其次为根霉属等</a:t>
            </a:r>
            <a:r>
              <a:rPr kumimoji="0" lang="en-US" altLang="zh-CN" sz="16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2</a:t>
            </a:r>
            <a:endParaRPr kumimoji="0" lang="en-US" altLang="zh-CN" sz="16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106" name="组合 2"/>
          <p:cNvGrpSpPr/>
          <p:nvPr/>
        </p:nvGrpSpPr>
        <p:grpSpPr>
          <a:xfrm>
            <a:off x="6312278" y="2281187"/>
            <a:ext cx="5196992" cy="3532472"/>
            <a:chOff x="6226799" y="2181977"/>
            <a:chExt cx="4914088" cy="2208489"/>
          </a:xfrm>
        </p:grpSpPr>
        <p:graphicFrame>
          <p:nvGraphicFramePr>
            <p:cNvPr id="4194310" name="图表 11" descr="7b0a202020202263686172745265734964223a20223230343732353634220a7d0a"/>
            <p:cNvGraphicFramePr/>
            <p:nvPr/>
          </p:nvGraphicFramePr>
          <p:xfrm>
            <a:off x="6292299" y="2181977"/>
            <a:ext cx="4848588" cy="2208489"/>
          </p:xfrm>
          <a:graphic>
            <a:graphicData uri="http://schemas.openxmlformats.org/drawingml/2006/chart">
              <c:chart xmlns:c="http://schemas.openxmlformats.org/drawingml/2006/chart" xmlns:r="http://schemas.openxmlformats.org/officeDocument/2006/relationships" r:id="rId2"/>
            </a:graphicData>
          </a:graphic>
        </p:graphicFrame>
        <p:sp>
          <p:nvSpPr>
            <p:cNvPr id="1048689" name="文本框 17"/>
            <p:cNvSpPr txBox="1"/>
            <p:nvPr/>
          </p:nvSpPr>
          <p:spPr>
            <a:xfrm rot="16200000">
              <a:off x="5436869" y="3015615"/>
              <a:ext cx="1841779" cy="2619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rPr>
                <a:t>百分比</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组合 15"/>
          <p:cNvGrpSpPr/>
          <p:nvPr/>
        </p:nvGrpSpPr>
        <p:grpSpPr>
          <a:xfrm>
            <a:off x="6141330" y="939210"/>
            <a:ext cx="5441071" cy="5007934"/>
            <a:chOff x="479425" y="696302"/>
            <a:chExt cx="11236325" cy="724722"/>
          </a:xfrm>
        </p:grpSpPr>
        <p:sp>
          <p:nvSpPr>
            <p:cNvPr id="1048810" name="矩形 16"/>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44" name="直接连接符 17"/>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45" name="直接连接符 20"/>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grpSp>
        <p:nvGrpSpPr>
          <p:cNvPr id="122" name="组合 2"/>
          <p:cNvGrpSpPr/>
          <p:nvPr/>
        </p:nvGrpSpPr>
        <p:grpSpPr>
          <a:xfrm>
            <a:off x="566325" y="935666"/>
            <a:ext cx="5441071" cy="5007934"/>
            <a:chOff x="479425" y="696302"/>
            <a:chExt cx="11236325" cy="724722"/>
          </a:xfrm>
        </p:grpSpPr>
        <p:sp>
          <p:nvSpPr>
            <p:cNvPr id="1048811" name="矩形 11"/>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46" name="直接连接符 13"/>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47" name="直接连接符 14"/>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sp>
        <p:nvSpPr>
          <p:cNvPr id="1048812" name="标题 1"/>
          <p:cNvSpPr>
            <a:spLocks noGrp="1"/>
          </p:cNvSpPr>
          <p:nvPr>
            <p:ph type="title"/>
          </p:nvPr>
        </p:nvSpPr>
        <p:spPr/>
        <p:txBody>
          <a:bodyPr/>
          <a:lstStyle/>
          <a:p>
            <a:r>
              <a:rPr lang="zh-CN" altLang="en-US" dirty="0"/>
              <a:t>近年来曲霉耐药率不断增加，</a:t>
            </a:r>
            <a:r>
              <a:rPr lang="en-US" altLang="zh-CN" dirty="0"/>
              <a:t>49%</a:t>
            </a:r>
            <a:r>
              <a:rPr lang="zh-CN" altLang="en-US" dirty="0"/>
              <a:t>的烟曲霉对至少一种抗霉菌药物耐药</a:t>
            </a:r>
            <a:endParaRPr lang="zh-CN" altLang="en-US" dirty="0"/>
          </a:p>
        </p:txBody>
      </p:sp>
      <p:sp>
        <p:nvSpPr>
          <p:cNvPr id="1048813" name="文本框 9"/>
          <p:cNvSpPr txBox="1"/>
          <p:nvPr/>
        </p:nvSpPr>
        <p:spPr>
          <a:xfrm>
            <a:off x="6822137" y="1105251"/>
            <a:ext cx="4152160" cy="306467"/>
          </a:xfrm>
          <a:prstGeom prst="roundRect">
            <a:avLst/>
          </a:prstGeom>
          <a:solidFill>
            <a:srgbClr val="F2E6F1"/>
          </a:solidFill>
          <a:ln w="19050" cap="flat" cmpd="sng" algn="ctr">
            <a:solidFill>
              <a:sysClr val="window" lastClr="FFFFFF"/>
            </a:solidFill>
            <a:prstDash val="solid"/>
            <a:miter lim="800000"/>
          </a:ln>
          <a:effectLst/>
        </p:spPr>
        <p:txBody>
          <a:bodyPr rot="0" spcFirstLastPara="0" vert="horz" wrap="square" lIns="91440" tIns="45720" rIns="91440" bIns="45720" numCol="1" spcCol="0" rtlCol="0" fromWordArt="0" anchor="ctr" anchorCtr="0" forceAA="0" compatLnSpc="1">
            <a:spAutoFit/>
          </a:bodyPr>
          <a:lstStyle>
            <a:defPPr>
              <a:defRPr lang="zh-CN"/>
            </a:defPPr>
            <a:lvl1pPr algn="ctr" defTabSz="914400">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0"/>
              </a:spcBef>
              <a:spcAft>
                <a:spcPct val="0"/>
              </a:spcAft>
              <a:buClr>
                <a:srgbClr val="A6B727"/>
              </a:buClr>
              <a:buSzPct val="90000"/>
              <a:buFontTx/>
              <a:buNone/>
              <a:defRPr/>
            </a:pPr>
            <a:r>
              <a:rPr kumimoji="0" lang="zh-CN" altLang="en-US" sz="1200" b="1" i="0" u="none" strike="noStrike" kern="1200" cap="none" spc="0" normalizeH="0" baseline="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rPr>
              <a:t>曲霉耐药率呈增加趋势</a:t>
            </a:r>
            <a:r>
              <a:rPr kumimoji="0" lang="en-US" altLang="zh-CN" sz="1200" b="1" i="0" u="none" strike="noStrike" kern="1200" cap="none" spc="0" normalizeH="0" baseline="3000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rPr>
              <a:t>2</a:t>
            </a:r>
            <a:endParaRPr kumimoji="0" lang="en-US" altLang="zh-CN" sz="1200" b="1" i="0" u="none" strike="noStrike" kern="1200" cap="none" spc="0" normalizeH="0" baseline="3000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814" name="文本框 10"/>
          <p:cNvSpPr txBox="1"/>
          <p:nvPr/>
        </p:nvSpPr>
        <p:spPr>
          <a:xfrm>
            <a:off x="1151439" y="1093090"/>
            <a:ext cx="4152160" cy="306467"/>
          </a:xfrm>
          <a:prstGeom prst="roundRect">
            <a:avLst/>
          </a:prstGeom>
          <a:solidFill>
            <a:srgbClr val="F2E6F1"/>
          </a:solidFill>
          <a:ln w="19050" cap="flat" cmpd="sng" algn="ctr">
            <a:solidFill>
              <a:sysClr val="window" lastClr="FFFFFF"/>
            </a:solidFill>
            <a:prstDash val="solid"/>
            <a:miter lim="800000"/>
          </a:ln>
          <a:effectLst/>
        </p:spPr>
        <p:txBody>
          <a:bodyPr rot="0" spcFirstLastPara="0" vert="horz" wrap="square" lIns="91440" tIns="45720" rIns="91440" bIns="45720" numCol="1" spcCol="0" rtlCol="0" fromWordArt="0" anchor="ctr" anchorCtr="0" forceAA="0" compatLnSpc="1">
            <a:spAutoFit/>
          </a:bodyPr>
          <a:lstStyle>
            <a:defPPr>
              <a:defRPr lang="zh-CN"/>
            </a:defPPr>
            <a:lvl1pPr algn="ctr" defTabSz="914400">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0"/>
              </a:spcBef>
              <a:spcAft>
                <a:spcPct val="0"/>
              </a:spcAft>
              <a:buClr>
                <a:srgbClr val="A6B727"/>
              </a:buClr>
              <a:buSzPct val="90000"/>
              <a:buFontTx/>
              <a:buNone/>
              <a:defRPr/>
            </a:pPr>
            <a:r>
              <a:rPr kumimoji="0" lang="zh-CN" altLang="en-US" sz="1200" b="1" i="0" u="none" strike="noStrike" kern="1200" cap="none" spc="0" normalizeH="0" baseline="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rPr>
              <a:t>曲霉耐药率较高</a:t>
            </a:r>
            <a:endParaRPr kumimoji="0" lang="en-US" altLang="zh-CN" sz="1200" b="1" i="0" u="none" strike="noStrike" kern="1200" cap="none" spc="0" normalizeH="0" baseline="3000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815" name="文本框 12"/>
          <p:cNvSpPr txBox="1"/>
          <p:nvPr/>
        </p:nvSpPr>
        <p:spPr>
          <a:xfrm>
            <a:off x="826682" y="1521860"/>
            <a:ext cx="4997815" cy="700448"/>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新近数据提示：</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49%</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的烟曲霉对至少一种抗霉菌药物耐药，</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2%</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的烟曲霉对至少两种唑类药物耐药</a:t>
            </a:r>
            <a:endParaRPr kumimoji="0" lang="zh-CN" altLang="en-US"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816" name="文本框 23"/>
          <p:cNvSpPr txBox="1"/>
          <p:nvPr/>
        </p:nvSpPr>
        <p:spPr>
          <a:xfrm>
            <a:off x="6301441" y="1472727"/>
            <a:ext cx="5095654" cy="700576"/>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我国一项</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20</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年监测数据：</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总体耐药率呈上升趋势，其中</a:t>
            </a:r>
            <a:r>
              <a:rPr kumimoji="0" lang="en-US" altLang="zh-CN"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2019</a:t>
            </a:r>
            <a:r>
              <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年最新数据中烟曲霉的耐药率超过</a:t>
            </a:r>
            <a:r>
              <a:rPr kumimoji="0" lang="en-US" altLang="zh-CN"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rPr>
              <a:t>14%</a:t>
            </a:r>
            <a:endParaRPr kumimoji="0" lang="zh-CN" altLang="en-US" sz="1400" b="1" i="0" u="none" strike="noStrike" kern="1200" cap="none" spc="0" normalizeH="0" baseline="3000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817" name="文本框 24"/>
          <p:cNvSpPr txBox="1"/>
          <p:nvPr/>
        </p:nvSpPr>
        <p:spPr>
          <a:xfrm>
            <a:off x="0" y="6404175"/>
            <a:ext cx="1104258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nl-NL"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1. Rhodes J, et al. Nat Microbiol . 2022;7(5):663-674      2. Yang X, et al. Front Microbiol. 2021 Jul 22;12:680884.     </a:t>
            </a:r>
            <a:endPar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123" name="组合 7"/>
          <p:cNvGrpSpPr/>
          <p:nvPr/>
        </p:nvGrpSpPr>
        <p:grpSpPr>
          <a:xfrm>
            <a:off x="6497510" y="2295587"/>
            <a:ext cx="4807209" cy="3460877"/>
            <a:chOff x="954470" y="1973858"/>
            <a:chExt cx="4807209" cy="2284217"/>
          </a:xfrm>
        </p:grpSpPr>
        <p:pic>
          <p:nvPicPr>
            <p:cNvPr id="2097162" name="图片 3"/>
            <p:cNvPicPr>
              <a:picLocks noChangeAspect="1"/>
            </p:cNvPicPr>
            <p:nvPr/>
          </p:nvPicPr>
          <p:blipFill rotWithShape="1">
            <a:blip r:embed="rId2"/>
            <a:srcRect l="5579" t="8155" r="3458"/>
            <a:stretch>
              <a:fillRect/>
            </a:stretch>
          </p:blipFill>
          <p:spPr>
            <a:xfrm>
              <a:off x="1245984" y="1973858"/>
              <a:ext cx="4237157" cy="1913479"/>
            </a:xfrm>
            <a:prstGeom prst="rect">
              <a:avLst/>
            </a:prstGeom>
          </p:spPr>
        </p:pic>
        <p:sp>
          <p:nvSpPr>
            <p:cNvPr id="1048818" name="文本框 4"/>
            <p:cNvSpPr txBox="1"/>
            <p:nvPr/>
          </p:nvSpPr>
          <p:spPr>
            <a:xfrm rot="16200000">
              <a:off x="625757" y="2582214"/>
              <a:ext cx="93442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检出菌株数（株）</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048819" name="文本框 5"/>
            <p:cNvSpPr txBox="1"/>
            <p:nvPr/>
          </p:nvSpPr>
          <p:spPr>
            <a:xfrm rot="5400000">
              <a:off x="5263354" y="2698570"/>
              <a:ext cx="719652"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耐药率（</a:t>
              </a: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a:t>
              </a: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048820" name="文本框 6"/>
            <p:cNvSpPr txBox="1"/>
            <p:nvPr/>
          </p:nvSpPr>
          <p:spPr>
            <a:xfrm>
              <a:off x="1245984" y="4095566"/>
              <a:ext cx="4160113" cy="16250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蓝色柱状图：每年分离的烟曲霉菌株数。黄色折线：每年烟曲霉耐药率</a:t>
              </a:r>
              <a:endParaRPr kumimoji="0" lang="zh-CN" altLang="en-US" sz="10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grpSp>
      <p:grpSp>
        <p:nvGrpSpPr>
          <p:cNvPr id="124" name="组合 28"/>
          <p:cNvGrpSpPr/>
          <p:nvPr/>
        </p:nvGrpSpPr>
        <p:grpSpPr>
          <a:xfrm>
            <a:off x="936746" y="2315318"/>
            <a:ext cx="4831280" cy="3449586"/>
            <a:chOff x="1044322" y="2315318"/>
            <a:chExt cx="4831280" cy="3186226"/>
          </a:xfrm>
        </p:grpSpPr>
        <p:sp>
          <p:nvSpPr>
            <p:cNvPr id="1048821" name="文本框 18"/>
            <p:cNvSpPr txBox="1"/>
            <p:nvPr/>
          </p:nvSpPr>
          <p:spPr>
            <a:xfrm rot="16200000">
              <a:off x="383332" y="3662547"/>
              <a:ext cx="1583589" cy="26161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曲霉耐药率</a:t>
              </a:r>
              <a:endParaRPr kumimoji="0" lang="zh-CN" altLang="en-US" sz="11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graphicFrame>
          <p:nvGraphicFramePr>
            <p:cNvPr id="4194314" name="图表 22"/>
            <p:cNvGraphicFramePr/>
            <p:nvPr/>
          </p:nvGraphicFramePr>
          <p:xfrm>
            <a:off x="1242863" y="2315318"/>
            <a:ext cx="4632739" cy="3186226"/>
          </p:xfrm>
          <a:graphic>
            <a:graphicData uri="http://schemas.openxmlformats.org/drawingml/2006/chart">
              <c:chart xmlns:c="http://schemas.openxmlformats.org/drawingml/2006/chart" xmlns:r="http://schemas.openxmlformats.org/officeDocument/2006/relationships" r:id="rId1"/>
            </a:graphicData>
          </a:graphic>
        </p:graphicFrame>
      </p:gr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 name="组合 11"/>
          <p:cNvGrpSpPr/>
          <p:nvPr/>
        </p:nvGrpSpPr>
        <p:grpSpPr>
          <a:xfrm>
            <a:off x="870856" y="925286"/>
            <a:ext cx="10265229" cy="642257"/>
            <a:chOff x="479425" y="696302"/>
            <a:chExt cx="11236325" cy="724722"/>
          </a:xfrm>
        </p:grpSpPr>
        <p:sp>
          <p:nvSpPr>
            <p:cNvPr id="1048693" name="矩形 12"/>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742" name="直接连接符 14"/>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743" name="直接连接符 15"/>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sp>
        <p:nvSpPr>
          <p:cNvPr id="1048694" name="标题 1"/>
          <p:cNvSpPr>
            <a:spLocks noGrp="1"/>
          </p:cNvSpPr>
          <p:nvPr>
            <p:ph type="title"/>
          </p:nvPr>
        </p:nvSpPr>
        <p:spPr/>
        <p:txBody>
          <a:bodyPr/>
          <a:lstStyle/>
          <a:p>
            <a:r>
              <a:rPr lang="zh-CN" altLang="en-US" dirty="0"/>
              <a:t>常用抗霉菌药物对曲霉及毛霉的抗菌活性</a:t>
            </a:r>
            <a:endParaRPr lang="zh-CN" altLang="en-US" dirty="0"/>
          </a:p>
        </p:txBody>
      </p:sp>
      <p:sp>
        <p:nvSpPr>
          <p:cNvPr id="1048695" name="文本框 4"/>
          <p:cNvSpPr txBox="1"/>
          <p:nvPr/>
        </p:nvSpPr>
        <p:spPr>
          <a:xfrm>
            <a:off x="1036250" y="921497"/>
            <a:ext cx="10426405" cy="510396"/>
          </a:xfrm>
          <a:prstGeom prst="rect">
            <a:avLst/>
          </a:prstGeom>
          <a:noFill/>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与其它多种药物相比，艾沙康唑抗菌谱广，包括对唑类药物耐药的真菌等均具有良好的抗菌活性</a:t>
            </a:r>
            <a:endParaRPr kumimoji="0" lang="zh-CN" altLang="en-US" sz="16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8697" name="文本框 10"/>
          <p:cNvSpPr txBox="1"/>
          <p:nvPr/>
        </p:nvSpPr>
        <p:spPr>
          <a:xfrm>
            <a:off x="1017871" y="5866945"/>
            <a:ext cx="1048431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体外具有良好的抗菌活性，强烈一线推荐；</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体外具有一定的抗菌活性；</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尽管临床有效，但体外活性可变；</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0</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无或缺乏抗菌活性</a:t>
            </a:r>
            <a:endPar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aphicFrame>
        <p:nvGraphicFramePr>
          <p:cNvPr id="4194311" name="表格 4"/>
          <p:cNvGraphicFramePr>
            <a:graphicFrameLocks noGrp="1"/>
          </p:cNvGraphicFramePr>
          <p:nvPr>
            <p:custDataLst>
              <p:tags r:id="rId1"/>
            </p:custDataLst>
          </p:nvPr>
        </p:nvGraphicFramePr>
        <p:xfrm>
          <a:off x="639145" y="1708534"/>
          <a:ext cx="10856167" cy="4056647"/>
        </p:xfrm>
        <a:graphic>
          <a:graphicData uri="http://schemas.openxmlformats.org/drawingml/2006/table">
            <a:tbl>
              <a:tblPr firstRow="1" bandRow="1">
                <a:tableStyleId>{2D5ABB26-0587-4C30-8999-92F81FD0307C}</a:tableStyleId>
              </a:tblPr>
              <a:tblGrid>
                <a:gridCol w="1078143"/>
                <a:gridCol w="1432312"/>
                <a:gridCol w="1139371"/>
                <a:gridCol w="1139372"/>
                <a:gridCol w="1103086"/>
                <a:gridCol w="1052285"/>
                <a:gridCol w="914400"/>
                <a:gridCol w="1066800"/>
                <a:gridCol w="856343"/>
                <a:gridCol w="1074055"/>
              </a:tblGrid>
              <a:tr h="612955">
                <a:tc rowSpan="2">
                  <a:txBody>
                    <a:bodyPr/>
                    <a:lstStyle/>
                    <a:p>
                      <a:pPr algn="ctr"/>
                      <a:endParaRPr lang="zh-CN" altLang="en-US" sz="1100" b="1" dirty="0">
                        <a:latin typeface="Times New Roman" panose="02020603050405020304" pitchFamily="18" charset="0"/>
                        <a:ea typeface="微软雅黑" panose="020B0503020204020204" charset="-122"/>
                        <a:cs typeface="Times New Roman" panose="02020603050405020304" pitchFamily="18"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r>
                        <a:rPr lang="zh-CN" altLang="en-US" sz="1400" b="1" dirty="0">
                          <a:latin typeface="Times New Roman" panose="02020603050405020304" pitchFamily="18" charset="0"/>
                          <a:ea typeface="微软雅黑" panose="020B0503020204020204" charset="-122"/>
                          <a:cs typeface="Times New Roman" panose="02020603050405020304" pitchFamily="18" charset="0"/>
                        </a:rPr>
                        <a:t>真菌菌种</a:t>
                      </a:r>
                      <a:endParaRPr lang="zh-CN" altLang="en-US" sz="14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algn="ctr"/>
                      <a:r>
                        <a:rPr lang="zh-CN" altLang="en-US" sz="1400" b="1" dirty="0">
                          <a:latin typeface="Times New Roman" panose="02020603050405020304" pitchFamily="18" charset="0"/>
                          <a:ea typeface="微软雅黑" panose="020B0503020204020204" charset="-122"/>
                          <a:cs typeface="Times New Roman" panose="02020603050405020304" pitchFamily="18" charset="0"/>
                        </a:rPr>
                        <a:t>抗霉菌药物</a:t>
                      </a:r>
                      <a:endParaRPr lang="en-US" altLang="zh-CN" sz="1400" b="1" dirty="0">
                        <a:solidFill>
                          <a:srgbClr val="0000C9"/>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tc>
                <a:tc hMerge="1">
                  <a:tcPr/>
                </a:tc>
                <a:tc hMerge="1">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80727">
                <a:tc vMerge="1">
                  <a:tcPr/>
                </a:tc>
                <a:tc vMerge="1">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200" b="1" dirty="0">
                          <a:latin typeface="Times New Roman" panose="02020603050405020304" pitchFamily="18" charset="0"/>
                          <a:ea typeface="微软雅黑" panose="020B0503020204020204" charset="-122"/>
                          <a:cs typeface="Times New Roman" panose="02020603050405020304" pitchFamily="18" charset="0"/>
                        </a:rPr>
                        <a:t>两性霉素</a:t>
                      </a:r>
                      <a:r>
                        <a:rPr lang="en-US" altLang="zh-CN" sz="1200" b="1" dirty="0">
                          <a:latin typeface="Times New Roman" panose="02020603050405020304" pitchFamily="18" charset="0"/>
                          <a:ea typeface="微软雅黑" panose="020B0503020204020204" charset="-122"/>
                          <a:cs typeface="Times New Roman" panose="02020603050405020304" pitchFamily="18" charset="0"/>
                        </a:rPr>
                        <a:t>B  </a:t>
                      </a:r>
                      <a:endParaRPr lang="en-US" altLang="zh-CN" sz="12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2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氟康唑</a:t>
                      </a:r>
                      <a:r>
                        <a:rPr lang="en-US" altLang="zh-CN" sz="12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  </a:t>
                      </a:r>
                      <a:endParaRPr lang="en-US" altLang="zh-CN" sz="1200" b="1"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2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伊曲康唑</a:t>
                      </a:r>
                      <a:r>
                        <a:rPr lang="en-US" altLang="zh-CN" sz="12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  </a:t>
                      </a:r>
                      <a:endParaRPr lang="en-US" altLang="zh-CN" sz="1200" b="1"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2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伏立康唑</a:t>
                      </a:r>
                      <a:r>
                        <a:rPr lang="en-US" altLang="zh-CN" sz="12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  </a:t>
                      </a:r>
                      <a:endParaRPr lang="en-US" altLang="zh-CN" sz="1200" b="1"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zh-CN" altLang="en-US" sz="1200" b="1" dirty="0">
                          <a:latin typeface="Times New Roman" panose="02020603050405020304" pitchFamily="18" charset="0"/>
                          <a:ea typeface="微软雅黑" panose="020B0503020204020204" charset="-122"/>
                          <a:cs typeface="Times New Roman" panose="02020603050405020304" pitchFamily="18" charset="0"/>
                        </a:rPr>
                        <a:t>泊沙康唑</a:t>
                      </a:r>
                      <a:endParaRPr lang="zh-CN" altLang="en-US" sz="12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zh-CN" altLang="en-US" sz="1200" b="1" dirty="0">
                          <a:solidFill>
                            <a:schemeClr val="bg1"/>
                          </a:solidFill>
                          <a:latin typeface="Times New Roman" panose="02020603050405020304" pitchFamily="18" charset="0"/>
                          <a:ea typeface="微软雅黑" panose="020B0503020204020204" charset="-122"/>
                          <a:cs typeface="Times New Roman" panose="02020603050405020304" pitchFamily="18" charset="0"/>
                        </a:rPr>
                        <a:t>艾沙康唑</a:t>
                      </a:r>
                      <a:endParaRPr lang="zh-CN" altLang="en-US" sz="1200" b="1" dirty="0">
                        <a:solidFill>
                          <a:schemeClr val="bg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358C"/>
                    </a:solidFill>
                  </a:tcPr>
                </a:tc>
                <a:tc>
                  <a:txBody>
                    <a:bodyPr/>
                    <a:lstStyle/>
                    <a:p>
                      <a:pPr algn="ctr"/>
                      <a:r>
                        <a:rPr lang="zh-CN" altLang="en-US" sz="1200" b="1" dirty="0">
                          <a:latin typeface="Times New Roman" panose="02020603050405020304" pitchFamily="18" charset="0"/>
                          <a:ea typeface="微软雅黑" panose="020B0503020204020204" charset="-122"/>
                          <a:cs typeface="Times New Roman" panose="02020603050405020304" pitchFamily="18" charset="0"/>
                        </a:rPr>
                        <a:t>卡泊芬净</a:t>
                      </a:r>
                      <a:endParaRPr lang="zh-CN" altLang="en-US" sz="12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200" b="1" dirty="0">
                          <a:latin typeface="Times New Roman" panose="02020603050405020304" pitchFamily="18" charset="0"/>
                          <a:ea typeface="微软雅黑" panose="020B0503020204020204" charset="-122"/>
                          <a:cs typeface="Times New Roman" panose="02020603050405020304" pitchFamily="18" charset="0"/>
                        </a:rPr>
                        <a:t>米卡芬净</a:t>
                      </a:r>
                      <a:endParaRPr lang="zh-CN" altLang="en-US" sz="12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12955">
                <a:tc rowSpan="3">
                  <a:txBody>
                    <a:bodyPr/>
                    <a:lstStyle/>
                    <a:p>
                      <a:pPr algn="ctr"/>
                      <a:r>
                        <a:rPr lang="zh-CN" altLang="en-US" sz="14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曲霉</a:t>
                      </a:r>
                      <a:endParaRPr lang="en-US" altLang="zh-CN" sz="1400" b="1"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latin typeface="Times New Roman" panose="02020603050405020304" pitchFamily="18" charset="0"/>
                          <a:ea typeface="微软雅黑" panose="020B0503020204020204" charset="-122"/>
                          <a:cs typeface="Times New Roman" panose="02020603050405020304" pitchFamily="18" charset="0"/>
                        </a:rPr>
                        <a:t>烟曲霉</a:t>
                      </a:r>
                      <a:endParaRPr lang="en-US" altLang="zh-CN" sz="1400" dirty="0">
                        <a:solidFill>
                          <a:srgbClr val="0000C9"/>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1100" b="1" dirty="0">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rPr>
                        <a:t>0</a:t>
                      </a:r>
                      <a:endPar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en-US" altLang="zh-CN" sz="1100" b="1" dirty="0">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en-US" altLang="zh-CN" sz="1100" b="1" dirty="0">
                          <a:solidFill>
                            <a:schemeClr val="bg1"/>
                          </a:solidFill>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solidFill>
                          <a:schemeClr val="bg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358C"/>
                    </a:solidFill>
                  </a:tcPr>
                </a:tc>
                <a:tc>
                  <a:txBody>
                    <a:bodyPr/>
                    <a:lstStyle/>
                    <a:p>
                      <a:pPr algn="ctr"/>
                      <a:r>
                        <a:rPr lang="en-US" altLang="zh-CN" sz="1100" b="1" dirty="0">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1100" b="1" dirty="0">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12955">
                <a:tc vMerge="1">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latin typeface="Times New Roman" panose="02020603050405020304" pitchFamily="18" charset="0"/>
                          <a:ea typeface="微软雅黑" panose="020B0503020204020204" charset="-122"/>
                          <a:cs typeface="Times New Roman" panose="02020603050405020304" pitchFamily="18" charset="0"/>
                        </a:rPr>
                        <a:t>土曲霉</a:t>
                      </a:r>
                      <a:endParaRPr lang="en-US" altLang="zh-CN" sz="1400" dirty="0">
                        <a:solidFill>
                          <a:srgbClr val="0000C9"/>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0</a:t>
                      </a:r>
                      <a:endPar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11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0</a:t>
                      </a:r>
                      <a:endParaRPr lang="en-US" altLang="zh-CN" sz="1100" b="1"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11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en-US" altLang="zh-CN" sz="1100" b="1" dirty="0">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buNone/>
                      </a:pPr>
                      <a:r>
                        <a:rPr lang="en-US" altLang="zh-CN" sz="1100" b="1" dirty="0">
                          <a:solidFill>
                            <a:schemeClr val="bg1"/>
                          </a:solidFill>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solidFill>
                          <a:schemeClr val="bg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358C"/>
                    </a:solidFill>
                  </a:tcPr>
                </a:tc>
                <a:tc>
                  <a:txBody>
                    <a:bodyPr/>
                    <a:lstStyle/>
                    <a:p>
                      <a:pPr algn="ctr"/>
                      <a:r>
                        <a:rPr lang="en-US" altLang="zh-CN" sz="1100" b="1" dirty="0">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1100" b="1" dirty="0">
                          <a:latin typeface="Times New Roman" panose="02020603050405020304" pitchFamily="18" charset="0"/>
                          <a:ea typeface="微软雅黑" panose="020B0503020204020204" charset="-122"/>
                          <a:cs typeface="Times New Roman" panose="02020603050405020304" pitchFamily="18" charset="0"/>
                        </a:rPr>
                        <a:t>±</a:t>
                      </a:r>
                      <a:endParaRPr lang="en-US" altLang="zh-CN" sz="1100" b="1" dirty="0">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12955">
                <a:tc vMerge="1">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zh-CN" altLang="en-US" sz="1400" dirty="0">
                          <a:latin typeface="Times New Roman" panose="02020603050405020304" pitchFamily="18" charset="0"/>
                          <a:ea typeface="微软雅黑" panose="020B0503020204020204" charset="-122"/>
                          <a:cs typeface="Times New Roman" panose="02020603050405020304" pitchFamily="18" charset="0"/>
                        </a:rPr>
                        <a:t>黄曲霉</a:t>
                      </a:r>
                      <a:endParaRPr lang="en-US" altLang="zh-CN" sz="1400" dirty="0">
                        <a:solidFill>
                          <a:srgbClr val="0000C9"/>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rPr>
                        <a:t>0</a:t>
                      </a:r>
                      <a:endPar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bg1"/>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schemeClr val="bg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358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24100">
                <a:tc>
                  <a:txBody>
                    <a:bodyPr/>
                    <a:lstStyle/>
                    <a:p>
                      <a:pPr marL="0" marR="0" lvl="0" indent="0" algn="ctr" defTabSz="914400" rtl="0" eaLnBrk="1" fontAlgn="auto" latinLnBrk="0" hangingPunct="1">
                        <a:lnSpc>
                          <a:spcPct val="100000"/>
                        </a:lnSpc>
                        <a:spcBef>
                          <a:spcPts val="0"/>
                        </a:spcBef>
                        <a:spcAft>
                          <a:spcPts val="0"/>
                        </a:spcAft>
                        <a:buClrTx/>
                        <a:buSzTx/>
                        <a:buFontTx/>
                        <a:buNone/>
                      </a:pPr>
                      <a:r>
                        <a:rPr lang="zh-CN" altLang="en-US" sz="14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毛霉</a:t>
                      </a:r>
                      <a:endParaRPr lang="en-US" altLang="zh-CN" sz="1400" b="1"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rPr>
                        <a:t>毛霉菌</a:t>
                      </a:r>
                      <a:endParaRPr lang="en-US" altLang="zh-CN" sz="140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1100" b="1" dirty="0">
                          <a:solidFill>
                            <a:schemeClr val="tx1"/>
                          </a:solidFill>
                          <a:latin typeface="Times New Roman" panose="02020603050405020304" pitchFamily="18" charset="0"/>
                          <a:ea typeface="微软雅黑" panose="020B0503020204020204" charset="-122"/>
                          <a:cs typeface="Times New Roman" panose="02020603050405020304" pitchFamily="18" charset="0"/>
                        </a:rPr>
                        <a:t>0</a:t>
                      </a:r>
                      <a:endParaRPr lang="en-US" altLang="zh-CN" sz="1100" b="1"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rPr>
                        <a:t>0</a:t>
                      </a:r>
                      <a:endPar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rPr>
                        <a:t>0</a:t>
                      </a:r>
                      <a:endParaRPr kumimoji="0" lang="en-US" altLang="zh-CN" sz="1100" b="1"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schemeClr val="bg1"/>
                          </a:solidFill>
                          <a:effectLst/>
                          <a:uLnTx/>
                          <a:uFillTx/>
                          <a:latin typeface="Times New Roman" panose="02020603050405020304" pitchFamily="18" charset="0"/>
                          <a:ea typeface="微软雅黑" panose="020B0503020204020204" charset="-122"/>
                          <a:cs typeface="Times New Roman" panose="02020603050405020304" pitchFamily="18" charset="0"/>
                        </a:rPr>
                        <a:t>++</a:t>
                      </a:r>
                      <a:endParaRPr kumimoji="0" lang="en-US" altLang="zh-CN" sz="1100" b="1" i="0" u="none" strike="noStrike" kern="1200" cap="none" spc="0" normalizeH="0" baseline="0" noProof="0" dirty="0">
                        <a:ln>
                          <a:noFill/>
                        </a:ln>
                        <a:solidFill>
                          <a:schemeClr val="bg1"/>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358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0</a:t>
                      </a:r>
                      <a:endPar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pPr>
                      <a:r>
                        <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0</a:t>
                      </a:r>
                      <a:endParaRPr kumimoji="0" lang="en-US" altLang="zh-CN" sz="11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048698" name="文本框 6"/>
          <p:cNvSpPr txBox="1"/>
          <p:nvPr/>
        </p:nvSpPr>
        <p:spPr>
          <a:xfrm>
            <a:off x="0" y="6404175"/>
            <a:ext cx="1104258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中华医学会血液学分会抗感染学组</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a:t>
            </a:r>
            <a:r>
              <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临床血液学杂志</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2023.36(5)</a:t>
            </a:r>
            <a:r>
              <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295-302.</a:t>
            </a:r>
            <a:endPar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3" name="椭圆 2"/>
          <p:cNvSpPr/>
          <p:nvPr/>
        </p:nvSpPr>
        <p:spPr>
          <a:xfrm>
            <a:off x="6553200" y="2390251"/>
            <a:ext cx="979714" cy="1469571"/>
          </a:xfrm>
          <a:prstGeom prst="ellipse">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p:cNvSpPr/>
          <p:nvPr/>
        </p:nvSpPr>
        <p:spPr>
          <a:xfrm>
            <a:off x="8534399" y="2390251"/>
            <a:ext cx="979714" cy="1469571"/>
          </a:xfrm>
          <a:prstGeom prst="ellipse">
            <a:avLst/>
          </a:prstGeom>
          <a:noFill/>
          <a:ln w="28575">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 name="组合 2"/>
          <p:cNvGrpSpPr/>
          <p:nvPr/>
        </p:nvGrpSpPr>
        <p:grpSpPr>
          <a:xfrm>
            <a:off x="6156159" y="940719"/>
            <a:ext cx="5510461" cy="4989245"/>
            <a:chOff x="479425" y="696302"/>
            <a:chExt cx="11236325" cy="724722"/>
          </a:xfrm>
        </p:grpSpPr>
        <p:sp>
          <p:nvSpPr>
            <p:cNvPr id="1049258" name="矩形 3"/>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837" name="直接连接符 4"/>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838" name="直接连接符 5"/>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grpSp>
        <p:nvGrpSpPr>
          <p:cNvPr id="298" name="组合 18"/>
          <p:cNvGrpSpPr/>
          <p:nvPr/>
        </p:nvGrpSpPr>
        <p:grpSpPr>
          <a:xfrm>
            <a:off x="529391" y="944730"/>
            <a:ext cx="5510461" cy="4989245"/>
            <a:chOff x="479425" y="696302"/>
            <a:chExt cx="11236325" cy="724722"/>
          </a:xfrm>
        </p:grpSpPr>
        <p:sp>
          <p:nvSpPr>
            <p:cNvPr id="1049259" name="矩形 23"/>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839" name="直接连接符 24"/>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840" name="直接连接符 25"/>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sp>
        <p:nvSpPr>
          <p:cNvPr id="1049260" name="标题 1"/>
          <p:cNvSpPr>
            <a:spLocks noGrp="1"/>
          </p:cNvSpPr>
          <p:nvPr>
            <p:ph type="title"/>
          </p:nvPr>
        </p:nvSpPr>
        <p:spPr>
          <a:xfrm>
            <a:off x="838200" y="365126"/>
            <a:ext cx="10972160" cy="520700"/>
          </a:xfrm>
        </p:spPr>
        <p:txBody>
          <a:bodyPr/>
          <a:lstStyle/>
          <a:p>
            <a:r>
              <a:rPr lang="zh-CN" altLang="en-US" sz="2400" dirty="0"/>
              <a:t>侵袭性霉菌病患者常存在脏器功能损伤，治疗时还需重视药物的脏器毒性</a:t>
            </a:r>
            <a:endParaRPr lang="zh-CN" altLang="en-US" dirty="0"/>
          </a:p>
        </p:txBody>
      </p:sp>
      <p:sp>
        <p:nvSpPr>
          <p:cNvPr id="1049261" name="文本框 6"/>
          <p:cNvSpPr txBox="1"/>
          <p:nvPr/>
        </p:nvSpPr>
        <p:spPr>
          <a:xfrm>
            <a:off x="6350267" y="1457743"/>
            <a:ext cx="5074920" cy="1346522"/>
          </a:xfrm>
          <a:prstGeom prst="rect">
            <a:avLst/>
          </a:prstGeom>
          <a:noFill/>
        </p:spPr>
        <p:txBody>
          <a:bodyPr wrap="square">
            <a:spAutoFit/>
          </a:bodyPr>
          <a:lstStyle/>
          <a:p>
            <a:pPr marL="228600" marR="0" lvl="0" indent="-22860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在我国，普通人群中药物性肝损伤估算的年发生率至少为</a:t>
            </a:r>
            <a:r>
              <a:rPr kumimoji="0" lang="en-US" altLang="zh-CN" sz="1400" b="1" i="0" u="none" strike="noStrike" kern="1200" cap="none" spc="0" normalizeH="0" baseline="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rPr>
              <a:t>23.8/10</a:t>
            </a:r>
            <a:r>
              <a:rPr kumimoji="0" lang="zh-CN" altLang="en-US" sz="1400" b="1" i="0" u="none" strike="noStrike" kern="1200" cap="none" spc="0" normalizeH="0" baseline="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rPr>
              <a:t>万，高于其他国家，且呈逐年上升的趋势</a:t>
            </a:r>
            <a:r>
              <a:rPr kumimoji="0" lang="en-US" altLang="zh-CN" sz="1400" b="1" i="0" u="none" strike="noStrike" kern="1200" cap="none" spc="0" normalizeH="0" baseline="3000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rPr>
              <a:t>2</a:t>
            </a:r>
            <a:endParaRPr kumimoji="0" lang="en-US" altLang="zh-CN" sz="1400" b="1" i="0" u="none" strike="noStrike" kern="1200" cap="none" spc="0" normalizeH="0" baseline="3000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endParaRPr>
          </a:p>
          <a:p>
            <a:pPr marL="228600" marR="0" lvl="0" indent="-22860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1200" cap="none" spc="0" normalizeH="0" baseline="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rPr>
              <a:t>住院患者中，药物性肝损伤发生率相对更高</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达</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6%</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且因急性肝损伤住院的患者中急性药物性肝损伤约占</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20%</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2</a:t>
            </a:r>
            <a:endParaRPr kumimoji="0" lang="zh-CN" altLang="en-US"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9262" name="文本框 13"/>
          <p:cNvSpPr txBox="1"/>
          <p:nvPr/>
        </p:nvSpPr>
        <p:spPr>
          <a:xfrm>
            <a:off x="6832769" y="1105251"/>
            <a:ext cx="4152160" cy="306467"/>
          </a:xfrm>
          <a:prstGeom prst="roundRect">
            <a:avLst/>
          </a:prstGeom>
          <a:solidFill>
            <a:srgbClr val="F2E6F1"/>
          </a:solidFill>
          <a:ln w="19050" cap="flat" cmpd="sng" algn="ctr">
            <a:solidFill>
              <a:sysClr val="window" lastClr="FFFFFF"/>
            </a:solidFill>
            <a:prstDash val="solid"/>
            <a:miter lim="800000"/>
          </a:ln>
          <a:effectLst/>
        </p:spPr>
        <p:txBody>
          <a:bodyPr rot="0" spcFirstLastPara="0" vert="horz" wrap="square" lIns="91440" tIns="45720" rIns="91440" bIns="45720" numCol="1" spcCol="0" rtlCol="0" fromWordArt="0" anchor="ctr" anchorCtr="0" forceAA="0" compatLnSpc="1">
            <a:spAutoFit/>
          </a:bodyPr>
          <a:lstStyle>
            <a:defPPr>
              <a:defRPr lang="zh-CN"/>
            </a:defPPr>
            <a:lvl1pPr algn="ctr" defTabSz="914400">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0"/>
              </a:spcBef>
              <a:spcAft>
                <a:spcPct val="0"/>
              </a:spcAft>
              <a:buClr>
                <a:srgbClr val="A6B727"/>
              </a:buClr>
              <a:buSzPct val="90000"/>
              <a:buFontTx/>
              <a:buNone/>
              <a:defRPr/>
            </a:pPr>
            <a:r>
              <a:rPr kumimoji="0" lang="zh-CN" altLang="en-US" sz="1200" b="1" i="0" u="none" strike="noStrike" kern="1200" cap="none" spc="0" normalizeH="0" baseline="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rPr>
              <a:t>在我国，药物性肝损伤的发生率较高，不容忽视</a:t>
            </a:r>
            <a:endParaRPr kumimoji="0" lang="en-US" altLang="zh-CN" sz="1200" b="1" i="0" u="none" strike="noStrike" kern="1200" cap="none" spc="0" normalizeH="0" baseline="3000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299" name="组合 14"/>
          <p:cNvGrpSpPr/>
          <p:nvPr/>
        </p:nvGrpSpPr>
        <p:grpSpPr>
          <a:xfrm>
            <a:off x="6401589" y="2914413"/>
            <a:ext cx="4964531" cy="2985875"/>
            <a:chOff x="6441987" y="2999509"/>
            <a:chExt cx="4964531" cy="3106950"/>
          </a:xfrm>
        </p:grpSpPr>
        <p:graphicFrame>
          <p:nvGraphicFramePr>
            <p:cNvPr id="4194338" name="图表 15"/>
            <p:cNvGraphicFramePr/>
            <p:nvPr/>
          </p:nvGraphicFramePr>
          <p:xfrm>
            <a:off x="6680844" y="2999509"/>
            <a:ext cx="4725674" cy="3106950"/>
          </p:xfrm>
          <a:graphic>
            <a:graphicData uri="http://schemas.openxmlformats.org/drawingml/2006/chart">
              <c:chart xmlns:c="http://schemas.openxmlformats.org/drawingml/2006/chart" xmlns:r="http://schemas.openxmlformats.org/officeDocument/2006/relationships" r:id="rId1"/>
            </a:graphicData>
          </a:graphic>
        </p:graphicFrame>
        <p:sp>
          <p:nvSpPr>
            <p:cNvPr id="1049263" name="文本框 7"/>
            <p:cNvSpPr txBox="1"/>
            <p:nvPr/>
          </p:nvSpPr>
          <p:spPr>
            <a:xfrm rot="16200000">
              <a:off x="5531206" y="4128702"/>
              <a:ext cx="2098561" cy="27699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百分比</a:t>
              </a:r>
              <a:endParaRPr kumimoji="0" lang="en-US" altLang="zh-CN" sz="1200" b="0" i="0" u="none" strike="noStrike" kern="1200" cap="none" spc="0" normalizeH="0" baseline="0" noProof="0" dirty="0">
                <a:ln>
                  <a:noFill/>
                </a:ln>
                <a:solidFill>
                  <a:srgbClr val="0000C9"/>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endParaRPr>
            </a:p>
          </p:txBody>
        </p:sp>
      </p:grpSp>
      <p:sp>
        <p:nvSpPr>
          <p:cNvPr id="1049264" name="文本框 17"/>
          <p:cNvSpPr txBox="1"/>
          <p:nvPr/>
        </p:nvSpPr>
        <p:spPr>
          <a:xfrm>
            <a:off x="1151439" y="1093090"/>
            <a:ext cx="4152160" cy="306467"/>
          </a:xfrm>
          <a:prstGeom prst="roundRect">
            <a:avLst/>
          </a:prstGeom>
          <a:solidFill>
            <a:srgbClr val="F2E6F1"/>
          </a:solidFill>
          <a:ln w="19050" cap="flat" cmpd="sng" algn="ctr">
            <a:solidFill>
              <a:sysClr val="window" lastClr="FFFFFF"/>
            </a:solidFill>
            <a:prstDash val="solid"/>
            <a:miter lim="800000"/>
          </a:ln>
          <a:effectLst/>
        </p:spPr>
        <p:txBody>
          <a:bodyPr rot="0" spcFirstLastPara="0" vert="horz" wrap="square" lIns="91440" tIns="45720" rIns="91440" bIns="45720" numCol="1" spcCol="0" rtlCol="0" fromWordArt="0" anchor="ctr" anchorCtr="0" forceAA="0" compatLnSpc="1">
            <a:spAutoFit/>
          </a:bodyPr>
          <a:lstStyle>
            <a:defPPr>
              <a:defRPr lang="zh-CN"/>
            </a:defPPr>
            <a:lvl1pPr algn="ctr" defTabSz="914400">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100000"/>
              </a:lnSpc>
              <a:spcBef>
                <a:spcPts val="0"/>
              </a:spcBef>
              <a:spcAft>
                <a:spcPct val="0"/>
              </a:spcAft>
              <a:buClr>
                <a:srgbClr val="A6B727"/>
              </a:buClr>
              <a:buSzPct val="90000"/>
              <a:buFontTx/>
              <a:buNone/>
              <a:defRPr/>
            </a:pPr>
            <a:r>
              <a:rPr kumimoji="0" lang="zh-CN" altLang="en-US" sz="1200" b="1" i="0" u="none" strike="noStrike" kern="1200" cap="none" spc="0" normalizeH="0" baseline="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rPr>
              <a:t>患者基线状态时常存在脏器功能异常等</a:t>
            </a:r>
            <a:endParaRPr kumimoji="0" lang="en-US" altLang="zh-CN" sz="1200" b="1" i="0" u="none" strike="noStrike" kern="1200" cap="none" spc="0" normalizeH="0" baseline="30000" noProof="0" dirty="0">
              <a:ln>
                <a:noFill/>
              </a:ln>
              <a:solidFill>
                <a:srgbClr val="8D3E8B"/>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9265" name="文本框 19"/>
          <p:cNvSpPr txBox="1"/>
          <p:nvPr/>
        </p:nvSpPr>
        <p:spPr>
          <a:xfrm>
            <a:off x="757989" y="1494942"/>
            <a:ext cx="5200048" cy="700448"/>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研究显示：患者基线脏器功能不全的比例中，约</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20%</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基线状态时存在肝、肾、心等脏器功能异常</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a:t>
            </a:r>
            <a:endParaRPr kumimoji="0" lang="zh-CN" altLang="en-US"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300" name="组合 20"/>
          <p:cNvGrpSpPr/>
          <p:nvPr/>
        </p:nvGrpSpPr>
        <p:grpSpPr>
          <a:xfrm>
            <a:off x="778833" y="2396691"/>
            <a:ext cx="4964531" cy="3404954"/>
            <a:chOff x="6441987" y="2999509"/>
            <a:chExt cx="4964531" cy="3106950"/>
          </a:xfrm>
        </p:grpSpPr>
        <p:graphicFrame>
          <p:nvGraphicFramePr>
            <p:cNvPr id="4194339" name="图表 21"/>
            <p:cNvGraphicFramePr/>
            <p:nvPr/>
          </p:nvGraphicFramePr>
          <p:xfrm>
            <a:off x="6680844" y="2999509"/>
            <a:ext cx="4725674" cy="3106950"/>
          </p:xfrm>
          <a:graphic>
            <a:graphicData uri="http://schemas.openxmlformats.org/drawingml/2006/chart">
              <c:chart xmlns:c="http://schemas.openxmlformats.org/drawingml/2006/chart" xmlns:r="http://schemas.openxmlformats.org/officeDocument/2006/relationships" r:id="rId2"/>
            </a:graphicData>
          </a:graphic>
        </p:graphicFrame>
        <p:sp>
          <p:nvSpPr>
            <p:cNvPr id="1049266" name="文本框 7"/>
            <p:cNvSpPr txBox="1"/>
            <p:nvPr/>
          </p:nvSpPr>
          <p:spPr>
            <a:xfrm rot="16200000">
              <a:off x="5531206" y="4190181"/>
              <a:ext cx="2098561" cy="27699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百分比</a:t>
              </a:r>
              <a:endParaRPr kumimoji="0" lang="en-US" altLang="zh-CN" sz="1200" b="0" i="0" u="none" strike="noStrike" kern="1200" cap="none" spc="0" normalizeH="0" baseline="0" noProof="0" dirty="0">
                <a:ln>
                  <a:noFill/>
                </a:ln>
                <a:solidFill>
                  <a:srgbClr val="0000C9"/>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endParaRPr>
            </a:p>
          </p:txBody>
        </p:sp>
      </p:grpSp>
      <p:sp>
        <p:nvSpPr>
          <p:cNvPr id="1049267" name="文本框 32"/>
          <p:cNvSpPr txBox="1"/>
          <p:nvPr/>
        </p:nvSpPr>
        <p:spPr>
          <a:xfrm>
            <a:off x="0" y="6404175"/>
            <a:ext cx="1104258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1.Monzó-Gallo P et al. Med Mycol.2023.Mar.2;(61)3:myad021   2.</a:t>
            </a:r>
            <a:r>
              <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中国医药生物技术协会药物性肝损伤防治技术专业委员会等</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 </a:t>
            </a:r>
            <a:r>
              <a:rPr kumimoji="0" lang="zh-CN" altLang="en-US"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中华肝脏病杂志</a:t>
            </a:r>
            <a:r>
              <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2023, 31(4) : 355-384.</a:t>
            </a:r>
            <a:endParaRPr kumimoji="0" lang="en-US"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95" name="标题 1"/>
          <p:cNvSpPr>
            <a:spLocks noGrp="1"/>
          </p:cNvSpPr>
          <p:nvPr>
            <p:ph type="title"/>
          </p:nvPr>
        </p:nvSpPr>
        <p:spPr/>
        <p:txBody>
          <a:bodyPr/>
          <a:lstStyle/>
          <a:p>
            <a:r>
              <a:rPr lang="zh-CN" altLang="en-US" dirty="0"/>
              <a:t>肾功能不全患者中抗霉菌药物的应用</a:t>
            </a:r>
            <a:endParaRPr lang="zh-CN" altLang="en-US" dirty="0"/>
          </a:p>
        </p:txBody>
      </p:sp>
      <p:grpSp>
        <p:nvGrpSpPr>
          <p:cNvPr id="269" name="组合 3"/>
          <p:cNvGrpSpPr/>
          <p:nvPr/>
        </p:nvGrpSpPr>
        <p:grpSpPr>
          <a:xfrm>
            <a:off x="586542" y="933300"/>
            <a:ext cx="11021525" cy="4989245"/>
            <a:chOff x="479425" y="696302"/>
            <a:chExt cx="11236325" cy="724722"/>
          </a:xfrm>
        </p:grpSpPr>
        <p:sp>
          <p:nvSpPr>
            <p:cNvPr id="1049196" name="矩形 4"/>
            <p:cNvSpPr/>
            <p:nvPr/>
          </p:nvSpPr>
          <p:spPr>
            <a:xfrm>
              <a:off x="479426" y="696302"/>
              <a:ext cx="11233149" cy="724722"/>
            </a:xfrm>
            <a:prstGeom prst="rect">
              <a:avLst/>
            </a:prstGeom>
            <a:solidFill>
              <a:schemeClr val="bg1"/>
            </a:solidFill>
            <a:ln w="12700">
              <a:solidFill>
                <a:srgbClr val="E6CEEB"/>
              </a:solidFill>
            </a:ln>
            <a:effectLst>
              <a:outerShdw blurRad="508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微软雅黑" panose="020B0503020204020204" charset="-122"/>
                <a:ea typeface="微软雅黑" panose="020B0503020204020204" charset="-122"/>
                <a:cs typeface="+mn-cs"/>
              </a:endParaRPr>
            </a:p>
          </p:txBody>
        </p:sp>
        <p:cxnSp>
          <p:nvCxnSpPr>
            <p:cNvPr id="3145822" name="直接连接符 5"/>
            <p:cNvCxnSpPr/>
            <p:nvPr/>
          </p:nvCxnSpPr>
          <p:spPr>
            <a:xfrm>
              <a:off x="479425" y="696302"/>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cxnSp>
          <p:nvCxnSpPr>
            <p:cNvPr id="3145823" name="直接连接符 6"/>
            <p:cNvCxnSpPr/>
            <p:nvPr/>
          </p:nvCxnSpPr>
          <p:spPr>
            <a:xfrm flipH="1">
              <a:off x="479425" y="1421024"/>
              <a:ext cx="11236325" cy="0"/>
            </a:xfrm>
            <a:prstGeom prst="line">
              <a:avLst/>
            </a:prstGeom>
            <a:ln w="9525">
              <a:solidFill>
                <a:srgbClr val="E6CEEB"/>
              </a:solidFill>
            </a:ln>
          </p:spPr>
          <p:style>
            <a:lnRef idx="1">
              <a:schemeClr val="accent1"/>
            </a:lnRef>
            <a:fillRef idx="0">
              <a:schemeClr val="accent1"/>
            </a:fillRef>
            <a:effectRef idx="0">
              <a:schemeClr val="accent1"/>
            </a:effectRef>
            <a:fontRef idx="minor">
              <a:schemeClr val="tx1"/>
            </a:fontRef>
          </p:style>
        </p:cxnSp>
      </p:grpSp>
      <p:graphicFrame>
        <p:nvGraphicFramePr>
          <p:cNvPr id="4194333" name="表格 21"/>
          <p:cNvGraphicFramePr>
            <a:graphicFrameLocks noGrp="1"/>
          </p:cNvGraphicFramePr>
          <p:nvPr/>
        </p:nvGraphicFramePr>
        <p:xfrm>
          <a:off x="1104431" y="1798120"/>
          <a:ext cx="10109247" cy="3931921"/>
        </p:xfrm>
        <a:graphic>
          <a:graphicData uri="http://schemas.openxmlformats.org/drawingml/2006/table">
            <a:tbl>
              <a:tblPr firstRow="1" bandRow="1">
                <a:tableStyleId>{7DF18680-E054-41AD-8BC1-D1AEF772440D}</a:tableStyleId>
              </a:tblPr>
              <a:tblGrid>
                <a:gridCol w="2353200"/>
                <a:gridCol w="2303242"/>
                <a:gridCol w="5452805"/>
              </a:tblGrid>
              <a:tr h="540439">
                <a:tc rowSpan="2">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ctr">
                        <a:lnSpc>
                          <a:spcPct val="150000"/>
                        </a:lnSpc>
                      </a:pPr>
                      <a:r>
                        <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抗菌药物</a:t>
                      </a:r>
                      <a:endPar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95358C"/>
                    </a:solidFill>
                  </a:tcPr>
                </a:tc>
                <a:tc gridSpan="2">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ctr">
                        <a:lnSpc>
                          <a:spcPct val="150000"/>
                        </a:lnSpc>
                      </a:pPr>
                      <a:r>
                        <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肌酐清除率水平</a:t>
                      </a:r>
                      <a:r>
                        <a:rPr lang="en-US" altLang="zh-CN"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mL/min)</a:t>
                      </a:r>
                      <a:endPar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95358C"/>
                    </a:solidFill>
                  </a:tcPr>
                </a:tc>
                <a:tc hMerge="1">
                  <a:tcPr/>
                </a:tc>
              </a:tr>
              <a:tr h="565247">
                <a:tc vMerge="1">
                  <a:tcPr anchor="ctr">
                    <a:solidFill>
                      <a:srgbClr val="78407F"/>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50000"/>
                        </a:lnSpc>
                      </a:pPr>
                      <a:r>
                        <a:rPr lang="en-US" altLang="zh-CN"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50-90</a:t>
                      </a:r>
                      <a:endPar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358C"/>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50000"/>
                        </a:lnSpc>
                      </a:pPr>
                      <a:r>
                        <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a:t>
                      </a:r>
                      <a:r>
                        <a:rPr lang="en-US" altLang="zh-CN"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50</a:t>
                      </a:r>
                      <a:endPar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5358C"/>
                    </a:solidFill>
                  </a:tcPr>
                </a:tc>
              </a:tr>
              <a:tr h="565247">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nSpc>
                          <a:spcPct val="150000"/>
                        </a:lnSpc>
                      </a:pPr>
                      <a:r>
                        <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伏立康唑</a:t>
                      </a:r>
                      <a:r>
                        <a:rPr lang="en-US" altLang="zh-CN" sz="140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2</a:t>
                      </a:r>
                      <a:endPar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50000"/>
                        </a:lnSpc>
                      </a:pPr>
                      <a:r>
                        <a:rPr lang="zh-CN" altLang="en-US" sz="1400" b="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无需调整</a:t>
                      </a:r>
                      <a:endParaRPr lang="zh-CN" altLang="en-US" sz="1400" b="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50000"/>
                        </a:lnSpc>
                        <a:spcBef>
                          <a:spcPts val="0"/>
                        </a:spcBef>
                        <a:spcAft>
                          <a:spcPts val="0"/>
                        </a:spcAft>
                        <a:buClrTx/>
                        <a:buSzTx/>
                        <a:buFontTx/>
                        <a:buNone/>
                      </a:pPr>
                      <a:r>
                        <a:rPr kumimoji="0" lang="zh-CN" altLang="en-US" sz="1400" b="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肌酐清除率＜</a:t>
                      </a:r>
                      <a:r>
                        <a:rPr kumimoji="0" lang="en-US" altLang="zh-CN" sz="1400" b="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50</a:t>
                      </a:r>
                      <a:r>
                        <a:rPr kumimoji="0" lang="zh-CN" altLang="en-US" sz="1400" b="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时，</a:t>
                      </a:r>
                      <a:r>
                        <a:rPr lang="zh-CN" altLang="en-US" sz="1400" b="0" kern="1200" noProof="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应用口服制剂或停用</a:t>
                      </a:r>
                      <a:endParaRPr kumimoji="0" lang="en-US" altLang="zh-CN" sz="1400" b="0" i="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65247">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nSpc>
                          <a:spcPct val="150000"/>
                        </a:lnSpc>
                      </a:pPr>
                      <a:r>
                        <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泊沙康唑</a:t>
                      </a:r>
                      <a:r>
                        <a:rPr lang="en-US" altLang="zh-CN" sz="140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1</a:t>
                      </a:r>
                      <a:endPar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50000"/>
                        </a:lnSpc>
                      </a:pPr>
                      <a:r>
                        <a:rPr kumimoji="0" lang="zh-CN" altLang="en-US" sz="1400" b="0" u="none" strike="noStrike" kern="1200" cap="none" spc="0" normalizeH="0" baseline="0" noProof="0" dirty="0">
                          <a:ln>
                            <a:noFill/>
                          </a:ln>
                          <a:solidFill>
                            <a:schemeClr val="tx1"/>
                          </a:solidFill>
                          <a:effectLst/>
                          <a:uLnTx/>
                          <a:uFillTx/>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无需调整</a:t>
                      </a:r>
                      <a:endParaRPr lang="en-US" sz="1400" b="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cPr/>
                </a:tc>
              </a:tr>
              <a:tr h="565247">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nSpc>
                          <a:spcPct val="150000"/>
                        </a:lnSpc>
                      </a:pPr>
                      <a:r>
                        <a:rPr lang="zh-CN" altLang="en-US" sz="1400" b="1" dirty="0">
                          <a:solidFill>
                            <a:srgbClr val="95358C"/>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艾沙康唑</a:t>
                      </a:r>
                      <a:r>
                        <a:rPr lang="en-US" altLang="zh-CN" sz="1400" b="1" baseline="30000" dirty="0">
                          <a:solidFill>
                            <a:srgbClr val="95358C"/>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1</a:t>
                      </a:r>
                      <a:endParaRPr lang="zh-CN" altLang="en-US" sz="1400" b="1" dirty="0">
                        <a:solidFill>
                          <a:srgbClr val="95358C"/>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50000"/>
                        </a:lnSpc>
                        <a:spcBef>
                          <a:spcPts val="0"/>
                        </a:spcBef>
                        <a:spcAft>
                          <a:spcPts val="0"/>
                        </a:spcAft>
                        <a:buClrTx/>
                        <a:buSzTx/>
                        <a:buFontTx/>
                        <a:buNone/>
                      </a:pPr>
                      <a:r>
                        <a:rPr kumimoji="0" lang="zh-CN" altLang="en-US" sz="1400" b="1"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无需调整</a:t>
                      </a:r>
                      <a:endParaRPr kumimoji="0" lang="zh-CN" altLang="en-US" sz="1400" b="1" i="0" u="none" strike="noStrike" kern="1200" cap="none" spc="0" normalizeH="0" baseline="0" noProof="0" dirty="0">
                        <a:ln>
                          <a:noFill/>
                        </a:ln>
                        <a:solidFill>
                          <a:srgbClr val="95358C"/>
                        </a:solidFill>
                        <a:effectLst/>
                        <a:uLnTx/>
                        <a:uFillTx/>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cPr/>
                </a:tc>
              </a:tr>
              <a:tr h="565247">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nSpc>
                          <a:spcPct val="150000"/>
                        </a:lnSpc>
                      </a:pPr>
                      <a:r>
                        <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棘白菌素类</a:t>
                      </a:r>
                      <a:r>
                        <a:rPr lang="en-US" altLang="zh-CN" sz="140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1,3</a:t>
                      </a:r>
                      <a:endPar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50000"/>
                        </a:lnSpc>
                      </a:pPr>
                      <a:r>
                        <a:rPr lang="zh-CN" altLang="en-US" sz="1400" b="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无需调整</a:t>
                      </a:r>
                      <a:endParaRPr lang="en-US" sz="1400" b="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cPr/>
                </a:tc>
              </a:tr>
              <a:tr h="565247">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nSpc>
                          <a:spcPct val="150000"/>
                        </a:lnSpc>
                      </a:pPr>
                      <a:r>
                        <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两性霉素</a:t>
                      </a:r>
                      <a:r>
                        <a:rPr lang="en-US" altLang="zh-CN"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B</a:t>
                      </a:r>
                      <a:r>
                        <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及其脂质体制剂</a:t>
                      </a:r>
                      <a:r>
                        <a:rPr lang="en-US" altLang="zh-CN" sz="140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1</a:t>
                      </a:r>
                      <a:endParaRPr lang="zh-CN" altLang="en-US" sz="14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50000"/>
                        </a:lnSpc>
                      </a:pPr>
                      <a:r>
                        <a:rPr lang="zh-CN" altLang="en-US" sz="1400" b="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不推荐使用</a:t>
                      </a:r>
                      <a:r>
                        <a:rPr lang="en-US" altLang="zh-CN" sz="1400" b="0" dirty="0" err="1">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AmB</a:t>
                      </a:r>
                      <a:r>
                        <a:rPr lang="en-US" altLang="zh-CN" sz="1400" b="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D</a:t>
                      </a:r>
                      <a:r>
                        <a:rPr lang="zh-CN" altLang="en-US" sz="1400" b="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rPr>
                        <a:t>，可选择脂质制剂，治疗过程中密切监测肾功能</a:t>
                      </a:r>
                      <a:endParaRPr lang="zh-CN" altLang="en-US" sz="1400" b="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cPr/>
                </a:tc>
              </a:tr>
            </a:tbl>
          </a:graphicData>
        </a:graphic>
      </p:graphicFrame>
      <p:sp>
        <p:nvSpPr>
          <p:cNvPr id="1049207" name="liver_195879"/>
          <p:cNvSpPr/>
          <p:nvPr/>
        </p:nvSpPr>
        <p:spPr>
          <a:xfrm>
            <a:off x="1042031" y="1155611"/>
            <a:ext cx="672470" cy="45602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07606" h="392203">
                <a:moveTo>
                  <a:pt x="223515" y="79831"/>
                </a:moveTo>
                <a:cubicBezTo>
                  <a:pt x="235621" y="76987"/>
                  <a:pt x="247726" y="84453"/>
                  <a:pt x="250486" y="96541"/>
                </a:cubicBezTo>
                <a:cubicBezTo>
                  <a:pt x="253334" y="108628"/>
                  <a:pt x="245768" y="120716"/>
                  <a:pt x="233751" y="123560"/>
                </a:cubicBezTo>
                <a:cubicBezTo>
                  <a:pt x="183816" y="135115"/>
                  <a:pt x="143404" y="172711"/>
                  <a:pt x="128361" y="221506"/>
                </a:cubicBezTo>
                <a:cubicBezTo>
                  <a:pt x="124623" y="233416"/>
                  <a:pt x="112072" y="239993"/>
                  <a:pt x="100144" y="236349"/>
                </a:cubicBezTo>
                <a:cubicBezTo>
                  <a:pt x="88306" y="232705"/>
                  <a:pt x="81719" y="220084"/>
                  <a:pt x="85368" y="208263"/>
                </a:cubicBezTo>
                <a:cubicBezTo>
                  <a:pt x="105129" y="144269"/>
                  <a:pt x="158091" y="95030"/>
                  <a:pt x="223515" y="79831"/>
                </a:cubicBezTo>
                <a:close/>
                <a:moveTo>
                  <a:pt x="363054" y="44882"/>
                </a:moveTo>
                <a:lnTo>
                  <a:pt x="341068" y="227608"/>
                </a:lnTo>
                <a:lnTo>
                  <a:pt x="399814" y="227608"/>
                </a:lnTo>
                <a:cubicBezTo>
                  <a:pt x="482682" y="227608"/>
                  <a:pt x="552554" y="165751"/>
                  <a:pt x="562345" y="83631"/>
                </a:cubicBezTo>
                <a:cubicBezTo>
                  <a:pt x="564837" y="63012"/>
                  <a:pt x="548726" y="44882"/>
                  <a:pt x="527898" y="44882"/>
                </a:cubicBezTo>
                <a:close/>
                <a:moveTo>
                  <a:pt x="266568" y="44882"/>
                </a:moveTo>
                <a:cubicBezTo>
                  <a:pt x="155485" y="44882"/>
                  <a:pt x="61669" y="127979"/>
                  <a:pt x="48407" y="238095"/>
                </a:cubicBezTo>
                <a:lnTo>
                  <a:pt x="45558" y="262180"/>
                </a:lnTo>
                <a:cubicBezTo>
                  <a:pt x="40129" y="307417"/>
                  <a:pt x="75465" y="347233"/>
                  <a:pt x="121127" y="347233"/>
                </a:cubicBezTo>
                <a:lnTo>
                  <a:pt x="170616" y="347233"/>
                </a:lnTo>
                <a:cubicBezTo>
                  <a:pt x="233813" y="347233"/>
                  <a:pt x="287040" y="300040"/>
                  <a:pt x="294606" y="237473"/>
                </a:cubicBezTo>
                <a:lnTo>
                  <a:pt x="317748" y="44882"/>
                </a:lnTo>
                <a:close/>
                <a:moveTo>
                  <a:pt x="266568" y="0"/>
                </a:moveTo>
                <a:lnTo>
                  <a:pt x="527898" y="0"/>
                </a:lnTo>
                <a:cubicBezTo>
                  <a:pt x="575696" y="0"/>
                  <a:pt x="612724" y="41682"/>
                  <a:pt x="607027" y="89052"/>
                </a:cubicBezTo>
                <a:cubicBezTo>
                  <a:pt x="594477" y="193657"/>
                  <a:pt x="505379" y="272578"/>
                  <a:pt x="399814" y="272578"/>
                </a:cubicBezTo>
                <a:lnTo>
                  <a:pt x="332969" y="272578"/>
                </a:lnTo>
                <a:cubicBezTo>
                  <a:pt x="311428" y="342522"/>
                  <a:pt x="246185" y="392203"/>
                  <a:pt x="170616" y="392203"/>
                </a:cubicBezTo>
                <a:lnTo>
                  <a:pt x="121127" y="392203"/>
                </a:lnTo>
                <a:cubicBezTo>
                  <a:pt x="48585" y="392203"/>
                  <a:pt x="-7758" y="328836"/>
                  <a:pt x="876" y="256847"/>
                </a:cubicBezTo>
                <a:lnTo>
                  <a:pt x="3813" y="232673"/>
                </a:lnTo>
                <a:cubicBezTo>
                  <a:pt x="19746" y="100073"/>
                  <a:pt x="132698" y="0"/>
                  <a:pt x="266568" y="0"/>
                </a:cubicBezTo>
                <a:close/>
              </a:path>
            </a:pathLst>
          </a:custGeom>
          <a:solidFill>
            <a:srgbClr val="95358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049208" name="文本框 24"/>
          <p:cNvSpPr txBox="1"/>
          <p:nvPr/>
        </p:nvSpPr>
        <p:spPr>
          <a:xfrm>
            <a:off x="1840982" y="1030115"/>
            <a:ext cx="9430202" cy="700448"/>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肾功能受损患者接受抗真菌药物治疗时，两性霉素</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B</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棘白菌素、艾沙康唑、泊沙康唑无需调整剂量，而伏立康唑则需依据患者肌酐清除率制订适当方案</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3</a:t>
            </a:r>
            <a:endPar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049209" name="文本框 4"/>
          <p:cNvSpPr txBox="1"/>
          <p:nvPr/>
        </p:nvSpPr>
        <p:spPr>
          <a:xfrm>
            <a:off x="0" y="6328056"/>
            <a:ext cx="12037512" cy="246221"/>
          </a:xfrm>
          <a:prstGeom prst="rect">
            <a:avLst/>
          </a:prstGeom>
          <a:noFill/>
        </p:spPr>
        <p:txBody>
          <a:bodyPr wrap="square" rtlCol="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it-IT"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rPr>
              <a:t>1. Tragiannidis A,et al.Expert Opin Drug Saf . 2021 Sep;20(9) 1061-1074.     2. Chatelon J,et al.Adv Ther. 2019 Dec;36(12):3308-3320.     3. Muilwijk EW,et al.Expert Rev Anti Infect Ther . 2015 Jun;13(6):799-815</a:t>
            </a:r>
            <a:endParaRPr kumimoji="0" lang="it-IT" altLang="zh-CN" sz="10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mn-ea"/>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104775" y="113508"/>
            <a:ext cx="10515600" cy="606425"/>
          </a:xfrm>
        </p:spPr>
        <p:txBody>
          <a:bodyPr/>
          <a:lstStyle/>
          <a:p>
            <a:r>
              <a:rPr kumimoji="0" lang="zh-CN" altLang="en-US" sz="24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与伏立康唑相比，艾沙康唑具有更高的安全性</a:t>
            </a:r>
            <a:endParaRPr lang="zh-CN" altLang="en-US" dirty="0"/>
          </a:p>
        </p:txBody>
      </p:sp>
      <p:sp>
        <p:nvSpPr>
          <p:cNvPr id="5" name="矩形 4"/>
          <p:cNvSpPr/>
          <p:nvPr/>
        </p:nvSpPr>
        <p:spPr>
          <a:xfrm>
            <a:off x="315824" y="1003302"/>
            <a:ext cx="5757512" cy="5295899"/>
          </a:xfrm>
          <a:prstGeom prst="rect">
            <a:avLst/>
          </a:prstGeom>
          <a:solidFill>
            <a:sysClr val="window" lastClr="FFFFFF"/>
          </a:solidFill>
          <a:ln w="19050" cap="flat" cmpd="sng" algn="ctr">
            <a:noFill/>
            <a:prstDash val="solid"/>
            <a:miter lim="800000"/>
          </a:ln>
          <a:effectLst>
            <a:outerShdw blurRad="63500" algn="tl" rotWithShape="0">
              <a:srgbClr val="156082">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grpSp>
        <p:nvGrpSpPr>
          <p:cNvPr id="6" name="组合 5"/>
          <p:cNvGrpSpPr/>
          <p:nvPr/>
        </p:nvGrpSpPr>
        <p:grpSpPr>
          <a:xfrm>
            <a:off x="448083" y="5159562"/>
            <a:ext cx="5515679" cy="904117"/>
            <a:chOff x="514468" y="1666747"/>
            <a:chExt cx="5650001" cy="1157073"/>
          </a:xfrm>
        </p:grpSpPr>
        <p:sp>
          <p:nvSpPr>
            <p:cNvPr id="7" name="矩形: 圆角 6"/>
            <p:cNvSpPr/>
            <p:nvPr/>
          </p:nvSpPr>
          <p:spPr>
            <a:xfrm>
              <a:off x="514468" y="1666747"/>
              <a:ext cx="5650001" cy="1157073"/>
            </a:xfrm>
            <a:prstGeom prst="roundRect">
              <a:avLst>
                <a:gd name="adj" fmla="val 4564"/>
              </a:avLst>
            </a:prstGeom>
            <a:solidFill>
              <a:srgbClr val="7F2675">
                <a:alpha val="10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8" name="组合 7"/>
            <p:cNvGrpSpPr/>
            <p:nvPr/>
          </p:nvGrpSpPr>
          <p:grpSpPr>
            <a:xfrm>
              <a:off x="629072" y="1706695"/>
              <a:ext cx="1863751" cy="339158"/>
              <a:chOff x="5503333" y="1085497"/>
              <a:chExt cx="1863751" cy="339158"/>
            </a:xfrm>
          </p:grpSpPr>
          <p:sp>
            <p:nvSpPr>
              <p:cNvPr id="10" name="矩形: 圆角 9"/>
              <p:cNvSpPr/>
              <p:nvPr/>
            </p:nvSpPr>
            <p:spPr>
              <a:xfrm>
                <a:off x="5529899" y="1085497"/>
                <a:ext cx="1837185" cy="339158"/>
              </a:xfrm>
              <a:prstGeom prst="roundRect">
                <a:avLst>
                  <a:gd name="adj" fmla="val 50000"/>
                </a:avLst>
              </a:prstGeom>
              <a:solidFill>
                <a:srgbClr val="F6EFF6"/>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1" name="椭圆 10"/>
              <p:cNvSpPr/>
              <p:nvPr/>
            </p:nvSpPr>
            <p:spPr>
              <a:xfrm>
                <a:off x="5503333" y="1096952"/>
                <a:ext cx="296974" cy="296972"/>
              </a:xfrm>
              <a:prstGeom prst="ellipse">
                <a:avLst/>
              </a:prstGeom>
              <a:solidFill>
                <a:srgbClr val="9E4294"/>
              </a:solidFill>
              <a:ln w="1905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04</a:t>
                </a:r>
                <a:endParaRPr kumimoji="0" lang="zh-CN" altLang="en-US" sz="105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sp>
          <p:nvSpPr>
            <p:cNvPr id="9" name="矩形: 圆角 8"/>
            <p:cNvSpPr/>
            <p:nvPr/>
          </p:nvSpPr>
          <p:spPr>
            <a:xfrm>
              <a:off x="987944" y="1739661"/>
              <a:ext cx="1305673" cy="275462"/>
            </a:xfrm>
            <a:prstGeom prst="roundRect">
              <a:avLst>
                <a:gd name="adj" fmla="val 50000"/>
              </a:avLst>
            </a:prstGeom>
            <a:solidFill>
              <a:sysClr val="window" lastClr="FFFFF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rPr>
                <a:t>视觉障碍</a:t>
              </a:r>
              <a:endParaRPr kumimoji="0" lang="zh-CN" altLang="en-US"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endParaRPr>
            </a:p>
          </p:txBody>
        </p:sp>
      </p:grpSp>
      <p:grpSp>
        <p:nvGrpSpPr>
          <p:cNvPr id="12" name="组合 11"/>
          <p:cNvGrpSpPr/>
          <p:nvPr/>
        </p:nvGrpSpPr>
        <p:grpSpPr>
          <a:xfrm>
            <a:off x="6039437" y="1011725"/>
            <a:ext cx="5879292" cy="5287476"/>
            <a:chOff x="313685" y="1058654"/>
            <a:chExt cx="5216557" cy="4148596"/>
          </a:xfrm>
        </p:grpSpPr>
        <p:sp>
          <p:nvSpPr>
            <p:cNvPr id="13" name="矩形 12"/>
            <p:cNvSpPr/>
            <p:nvPr/>
          </p:nvSpPr>
          <p:spPr>
            <a:xfrm>
              <a:off x="313685" y="1169893"/>
              <a:ext cx="5216557" cy="3480880"/>
            </a:xfrm>
            <a:prstGeom prst="rect">
              <a:avLst/>
            </a:prstGeom>
            <a:gradFill>
              <a:gsLst>
                <a:gs pos="100000">
                  <a:sysClr val="window" lastClr="FFFFFF"/>
                </a:gs>
                <a:gs pos="29000">
                  <a:srgbClr val="F6EDF4">
                    <a:alpha val="50000"/>
                  </a:srgbClr>
                </a:gs>
              </a:gsLst>
              <a:lin ang="5400000" scaled="0"/>
            </a:gra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4" name="矩形 13"/>
            <p:cNvSpPr/>
            <p:nvPr/>
          </p:nvSpPr>
          <p:spPr>
            <a:xfrm>
              <a:off x="478051" y="1058654"/>
              <a:ext cx="4925475" cy="3827594"/>
            </a:xfrm>
            <a:prstGeom prst="rect">
              <a:avLst/>
            </a:prstGeom>
            <a:gradFill>
              <a:gsLst>
                <a:gs pos="100000">
                  <a:sysClr val="window" lastClr="FFFFFF"/>
                </a:gs>
                <a:gs pos="41000">
                  <a:srgbClr val="F6EDF4"/>
                </a:gs>
              </a:gsLst>
              <a:lin ang="5400000" scaled="0"/>
            </a:gra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15" name="矩形 14"/>
            <p:cNvSpPr/>
            <p:nvPr/>
          </p:nvSpPr>
          <p:spPr>
            <a:xfrm>
              <a:off x="610583" y="1184127"/>
              <a:ext cx="4658655" cy="4023123"/>
            </a:xfrm>
            <a:prstGeom prst="rect">
              <a:avLst/>
            </a:prstGeom>
            <a:solidFill>
              <a:sysClr val="window" lastClr="FFFFFF"/>
            </a:solidFill>
            <a:ln w="9525" cap="flat" cmpd="sng" algn="ctr">
              <a:solidFill>
                <a:srgbClr val="A24A9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sp>
        <p:nvSpPr>
          <p:cNvPr id="16" name="文本框 15"/>
          <p:cNvSpPr txBox="1"/>
          <p:nvPr/>
        </p:nvSpPr>
        <p:spPr>
          <a:xfrm>
            <a:off x="447023" y="1040600"/>
            <a:ext cx="5377565" cy="700576"/>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研究显示：相对伏立康唑，艾沙康唑对肝、肾、心脏、视觉系统等影响更小</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1-8</a:t>
            </a:r>
            <a:endParaRPr kumimoji="0" lang="zh-CN" altLang="en-US"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grpSp>
        <p:nvGrpSpPr>
          <p:cNvPr id="17" name="组合 16"/>
          <p:cNvGrpSpPr/>
          <p:nvPr/>
        </p:nvGrpSpPr>
        <p:grpSpPr>
          <a:xfrm>
            <a:off x="431869" y="4064372"/>
            <a:ext cx="5515679" cy="904117"/>
            <a:chOff x="514468" y="1666747"/>
            <a:chExt cx="5650001" cy="1157073"/>
          </a:xfrm>
        </p:grpSpPr>
        <p:sp>
          <p:nvSpPr>
            <p:cNvPr id="18" name="矩形: 圆角 17"/>
            <p:cNvSpPr/>
            <p:nvPr/>
          </p:nvSpPr>
          <p:spPr>
            <a:xfrm>
              <a:off x="514468" y="1666747"/>
              <a:ext cx="5650001" cy="1157073"/>
            </a:xfrm>
            <a:prstGeom prst="roundRect">
              <a:avLst>
                <a:gd name="adj" fmla="val 4564"/>
              </a:avLst>
            </a:prstGeom>
            <a:solidFill>
              <a:srgbClr val="7F2675">
                <a:alpha val="10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nvGrpSpPr>
            <p:cNvPr id="19" name="组合 18"/>
            <p:cNvGrpSpPr/>
            <p:nvPr/>
          </p:nvGrpSpPr>
          <p:grpSpPr>
            <a:xfrm>
              <a:off x="629072" y="1706695"/>
              <a:ext cx="1863751" cy="339158"/>
              <a:chOff x="5503333" y="1085497"/>
              <a:chExt cx="1863751" cy="339158"/>
            </a:xfrm>
          </p:grpSpPr>
          <p:sp>
            <p:nvSpPr>
              <p:cNvPr id="21" name="矩形: 圆角 20"/>
              <p:cNvSpPr/>
              <p:nvPr/>
            </p:nvSpPr>
            <p:spPr>
              <a:xfrm>
                <a:off x="5529899" y="1085497"/>
                <a:ext cx="1837185" cy="339158"/>
              </a:xfrm>
              <a:prstGeom prst="roundRect">
                <a:avLst>
                  <a:gd name="adj" fmla="val 50000"/>
                </a:avLst>
              </a:prstGeom>
              <a:solidFill>
                <a:srgbClr val="F6EFF6"/>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22" name="椭圆 21"/>
              <p:cNvSpPr/>
              <p:nvPr/>
            </p:nvSpPr>
            <p:spPr>
              <a:xfrm>
                <a:off x="5503333" y="1096952"/>
                <a:ext cx="296974" cy="296972"/>
              </a:xfrm>
              <a:prstGeom prst="ellipse">
                <a:avLst/>
              </a:prstGeom>
              <a:solidFill>
                <a:srgbClr val="9E4294"/>
              </a:solidFill>
              <a:ln w="1905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03</a:t>
                </a:r>
                <a:endParaRPr kumimoji="0" lang="zh-CN" altLang="en-US" sz="105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sp>
          <p:nvSpPr>
            <p:cNvPr id="20" name="矩形: 圆角 19"/>
            <p:cNvSpPr/>
            <p:nvPr/>
          </p:nvSpPr>
          <p:spPr>
            <a:xfrm>
              <a:off x="987943" y="1739661"/>
              <a:ext cx="1657885" cy="274072"/>
            </a:xfrm>
            <a:prstGeom prst="roundRect">
              <a:avLst>
                <a:gd name="adj" fmla="val 50000"/>
              </a:avLst>
            </a:prstGeom>
            <a:solidFill>
              <a:sysClr val="window" lastClr="FFFFFF"/>
            </a:solidFill>
            <a:ln w="190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rPr>
                <a:t>心脏</a:t>
              </a:r>
              <a:r>
                <a:rPr kumimoji="0" lang="en-US" altLang="zh-CN"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rPr>
                <a:t>QTc</a:t>
              </a:r>
              <a:r>
                <a:rPr kumimoji="0" lang="zh-CN" altLang="en-US"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rPr>
                <a:t>间期</a:t>
              </a:r>
              <a:endParaRPr kumimoji="0" lang="zh-CN" altLang="en-US"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endParaRPr>
            </a:p>
          </p:txBody>
        </p:sp>
      </p:grpSp>
      <p:grpSp>
        <p:nvGrpSpPr>
          <p:cNvPr id="23" name="组合 22"/>
          <p:cNvGrpSpPr/>
          <p:nvPr/>
        </p:nvGrpSpPr>
        <p:grpSpPr>
          <a:xfrm>
            <a:off x="431871" y="1819835"/>
            <a:ext cx="5524212" cy="904116"/>
            <a:chOff x="514468" y="1666747"/>
            <a:chExt cx="5650001" cy="1224921"/>
          </a:xfrm>
        </p:grpSpPr>
        <p:sp>
          <p:nvSpPr>
            <p:cNvPr id="24" name="矩形: 圆角 23"/>
            <p:cNvSpPr/>
            <p:nvPr/>
          </p:nvSpPr>
          <p:spPr>
            <a:xfrm>
              <a:off x="514468" y="1666747"/>
              <a:ext cx="5650001" cy="1224921"/>
            </a:xfrm>
            <a:prstGeom prst="roundRect">
              <a:avLst>
                <a:gd name="adj" fmla="val 4564"/>
              </a:avLst>
            </a:prstGeom>
            <a:solidFill>
              <a:srgbClr val="7F2675">
                <a:alpha val="10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25" name="椭圆 24"/>
            <p:cNvSpPr/>
            <p:nvPr/>
          </p:nvSpPr>
          <p:spPr>
            <a:xfrm>
              <a:off x="629072" y="1718150"/>
              <a:ext cx="296974" cy="296972"/>
            </a:xfrm>
            <a:prstGeom prst="ellipse">
              <a:avLst/>
            </a:prstGeom>
            <a:solidFill>
              <a:srgbClr val="9E4294"/>
            </a:solidFill>
            <a:ln w="1905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01</a:t>
              </a:r>
              <a:endParaRPr kumimoji="0" lang="zh-CN" altLang="en-US" sz="105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26" name="文本框 25"/>
            <p:cNvSpPr txBox="1"/>
            <p:nvPr/>
          </p:nvSpPr>
          <p:spPr>
            <a:xfrm>
              <a:off x="1424901" y="2287464"/>
              <a:ext cx="4045894" cy="511153"/>
            </a:xfrm>
            <a:prstGeom prst="rect">
              <a:avLst/>
            </a:prstGeom>
            <a:noFill/>
          </p:spPr>
          <p:txBody>
            <a:bodyPr wrap="square">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艾沙康唑</a:t>
              </a:r>
              <a:r>
                <a:rPr kumimoji="0" lang="en-US" altLang="zh-CN"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 </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en-US" altLang="zh-CN"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1.63%</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en-US" altLang="zh-CN"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lt; </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伏立康唑（</a:t>
              </a:r>
              <a:r>
                <a:rPr kumimoji="0" lang="en-US" altLang="zh-CN"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32.45%</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en-US" altLang="zh-CN" sz="1400" b="0" i="0" u="none" strike="noStrike" kern="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1</a:t>
              </a:r>
              <a:endParaRPr kumimoji="0" lang="en-US" altLang="zh-CN" sz="1400" b="0" i="0" u="none" strike="noStrike" kern="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sp>
          <p:nvSpPr>
            <p:cNvPr id="27" name="矩形: 圆角 26"/>
            <p:cNvSpPr/>
            <p:nvPr/>
          </p:nvSpPr>
          <p:spPr>
            <a:xfrm>
              <a:off x="987945" y="1739661"/>
              <a:ext cx="1880638" cy="322574"/>
            </a:xfrm>
            <a:prstGeom prst="roundRect">
              <a:avLst>
                <a:gd name="adj" fmla="val 50000"/>
              </a:avLst>
            </a:prstGeom>
            <a:solidFill>
              <a:sysClr val="window" lastClr="FFFFFF"/>
            </a:solidFill>
            <a:ln w="1905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rPr>
                <a:t>肝功能异常</a:t>
              </a:r>
              <a:endParaRPr kumimoji="0" lang="zh-CN" altLang="en-US"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endParaRPr>
            </a:p>
          </p:txBody>
        </p:sp>
      </p:grpSp>
      <p:grpSp>
        <p:nvGrpSpPr>
          <p:cNvPr id="28" name="组合 27"/>
          <p:cNvGrpSpPr/>
          <p:nvPr/>
        </p:nvGrpSpPr>
        <p:grpSpPr>
          <a:xfrm>
            <a:off x="423335" y="2887444"/>
            <a:ext cx="5524213" cy="1011666"/>
            <a:chOff x="514468" y="1666747"/>
            <a:chExt cx="5650001" cy="1224921"/>
          </a:xfrm>
        </p:grpSpPr>
        <p:sp>
          <p:nvSpPr>
            <p:cNvPr id="29" name="矩形: 圆角 28"/>
            <p:cNvSpPr/>
            <p:nvPr/>
          </p:nvSpPr>
          <p:spPr>
            <a:xfrm>
              <a:off x="514468" y="1666747"/>
              <a:ext cx="5650001" cy="1224921"/>
            </a:xfrm>
            <a:prstGeom prst="roundRect">
              <a:avLst>
                <a:gd name="adj" fmla="val 4564"/>
              </a:avLst>
            </a:prstGeom>
            <a:solidFill>
              <a:srgbClr val="7F2675">
                <a:alpha val="10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30" name="椭圆 29"/>
            <p:cNvSpPr/>
            <p:nvPr/>
          </p:nvSpPr>
          <p:spPr>
            <a:xfrm>
              <a:off x="629072" y="1718150"/>
              <a:ext cx="296974" cy="296972"/>
            </a:xfrm>
            <a:prstGeom prst="ellipse">
              <a:avLst/>
            </a:prstGeom>
            <a:solidFill>
              <a:srgbClr val="9E4294"/>
            </a:solidFill>
            <a:ln w="19050" cap="flat" cmpd="sng" algn="ctr">
              <a:no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rPr>
                <a:t>02</a:t>
              </a:r>
              <a:endParaRPr kumimoji="0" lang="zh-CN" altLang="en-US" sz="105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31" name="文本框 30"/>
            <p:cNvSpPr txBox="1"/>
            <p:nvPr/>
          </p:nvSpPr>
          <p:spPr>
            <a:xfrm>
              <a:off x="1319960" y="2020135"/>
              <a:ext cx="4806026" cy="848101"/>
            </a:xfrm>
            <a:prstGeom prst="rect">
              <a:avLst/>
            </a:prstGeom>
            <a:noFill/>
          </p:spPr>
          <p:txBody>
            <a:bodyPr wrap="square">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艾沙康唑针剂不含环糊精，不增加肾毒性</a:t>
              </a:r>
              <a:r>
                <a:rPr kumimoji="0" lang="en-US" altLang="zh-CN" sz="1400" b="0" i="0" u="none" strike="noStrike" kern="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2</a:t>
              </a:r>
              <a:endParaRPr kumimoji="0" lang="en-US" altLang="zh-CN" sz="1400" b="0" i="0" u="none" strike="noStrike" kern="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伏立康唑针剂含环糊精，肾毒性发生率增加</a:t>
              </a:r>
              <a:r>
                <a:rPr kumimoji="0" lang="en-US" altLang="zh-CN"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2</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倍</a:t>
              </a:r>
              <a:r>
                <a:rPr kumimoji="0" lang="en-US" altLang="zh-CN" sz="1400" b="0" i="0" u="none" strike="noStrike" kern="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3-4</a:t>
              </a:r>
              <a:endParaRPr kumimoji="0" lang="en-US" altLang="zh-CN" sz="1400" b="0" i="0" u="none" strike="noStrike" kern="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sp>
          <p:nvSpPr>
            <p:cNvPr id="32" name="矩形: 圆角 31"/>
            <p:cNvSpPr/>
            <p:nvPr/>
          </p:nvSpPr>
          <p:spPr>
            <a:xfrm>
              <a:off x="987945" y="1739661"/>
              <a:ext cx="1040880" cy="280550"/>
            </a:xfrm>
            <a:prstGeom prst="roundRect">
              <a:avLst>
                <a:gd name="adj" fmla="val 50000"/>
              </a:avLst>
            </a:prstGeom>
            <a:solidFill>
              <a:sysClr val="window" lastClr="FFFFF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rPr>
                <a:t>肾脏毒性</a:t>
              </a:r>
              <a:endParaRPr kumimoji="0" lang="zh-CN" altLang="en-US" sz="1400" b="1" i="0" u="none" strike="noStrike" kern="0" cap="none" spc="0" normalizeH="0" baseline="0" noProof="0" dirty="0">
                <a:ln>
                  <a:noFill/>
                </a:ln>
                <a:solidFill>
                  <a:srgbClr val="9E4294"/>
                </a:solidFill>
                <a:effectLst/>
                <a:uLnTx/>
                <a:uFillTx/>
                <a:latin typeface="Times New Roman" panose="02020603050405020304" pitchFamily="18" charset="0"/>
                <a:ea typeface="微软雅黑" panose="020B0503020204020204" charset="-122"/>
                <a:cs typeface="Times New Roman" panose="02020603050405020304" pitchFamily="18" charset="0"/>
                <a:sym typeface="Verdana" panose="020B0604030504040204"/>
              </a:endParaRPr>
            </a:p>
          </p:txBody>
        </p:sp>
      </p:grpSp>
      <p:sp>
        <p:nvSpPr>
          <p:cNvPr id="33" name="任意多边形: 形状 32"/>
          <p:cNvSpPr/>
          <p:nvPr/>
        </p:nvSpPr>
        <p:spPr>
          <a:xfrm>
            <a:off x="736974" y="2209393"/>
            <a:ext cx="535702" cy="402448"/>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 name="connsiteX150" fmla="*/ 373273 h 605239"/>
              <a:gd name="connsiteY150" fmla="*/ 373273 h 605239"/>
              <a:gd name="connsiteX151" fmla="*/ 373273 h 605239"/>
              <a:gd name="connsiteY151" fmla="*/ 373273 h 605239"/>
              <a:gd name="connsiteX152" fmla="*/ 373273 h 605239"/>
              <a:gd name="connsiteY152" fmla="*/ 373273 h 605239"/>
              <a:gd name="connsiteX153" fmla="*/ 373273 h 605239"/>
              <a:gd name="connsiteY153" fmla="*/ 373273 h 605239"/>
              <a:gd name="connsiteX154" fmla="*/ 373273 h 605239"/>
              <a:gd name="connsiteY154" fmla="*/ 373273 h 605239"/>
              <a:gd name="connsiteX155" fmla="*/ 373273 h 605239"/>
              <a:gd name="connsiteY155" fmla="*/ 373273 h 605239"/>
              <a:gd name="connsiteX156" fmla="*/ 373273 h 605239"/>
              <a:gd name="connsiteY156" fmla="*/ 373273 h 605239"/>
              <a:gd name="connsiteX157" fmla="*/ 373273 h 605239"/>
              <a:gd name="connsiteY157" fmla="*/ 373273 h 605239"/>
              <a:gd name="connsiteX158" fmla="*/ 373273 h 605239"/>
              <a:gd name="connsiteY158" fmla="*/ 373273 h 605239"/>
              <a:gd name="connsiteX159" fmla="*/ 373273 h 605239"/>
              <a:gd name="connsiteY159" fmla="*/ 373273 h 605239"/>
              <a:gd name="connsiteX160" fmla="*/ 373273 h 605239"/>
              <a:gd name="connsiteY160" fmla="*/ 373273 h 605239"/>
              <a:gd name="connsiteX161" fmla="*/ 373273 h 605239"/>
              <a:gd name="connsiteY161" fmla="*/ 373273 h 605239"/>
              <a:gd name="connsiteX162" fmla="*/ 373273 h 605239"/>
              <a:gd name="connsiteY162" fmla="*/ 373273 h 605239"/>
              <a:gd name="connsiteX163" fmla="*/ 373273 h 605239"/>
              <a:gd name="connsiteY163" fmla="*/ 373273 h 605239"/>
              <a:gd name="connsiteX164" fmla="*/ 373273 h 605239"/>
              <a:gd name="connsiteY164" fmla="*/ 373273 h 605239"/>
              <a:gd name="connsiteX165" fmla="*/ 373273 h 605239"/>
              <a:gd name="connsiteY165" fmla="*/ 373273 h 605239"/>
              <a:gd name="connsiteX166" fmla="*/ 373273 h 605239"/>
              <a:gd name="connsiteY166" fmla="*/ 373273 h 605239"/>
              <a:gd name="connsiteX167" fmla="*/ 373273 h 605239"/>
              <a:gd name="connsiteY167" fmla="*/ 373273 h 605239"/>
              <a:gd name="connsiteX168" fmla="*/ 373273 h 605239"/>
              <a:gd name="connsiteY168" fmla="*/ 373273 h 605239"/>
              <a:gd name="connsiteX169" fmla="*/ 373273 h 605239"/>
              <a:gd name="connsiteY169" fmla="*/ 373273 h 605239"/>
              <a:gd name="connsiteX170" fmla="*/ 373273 h 605239"/>
              <a:gd name="connsiteY170" fmla="*/ 373273 h 605239"/>
              <a:gd name="connsiteX171" fmla="*/ 373273 h 605239"/>
              <a:gd name="connsiteY171" fmla="*/ 373273 h 605239"/>
              <a:gd name="connsiteX172" fmla="*/ 373273 h 605239"/>
              <a:gd name="connsiteY172" fmla="*/ 373273 h 605239"/>
              <a:gd name="connsiteX173" fmla="*/ 373273 h 605239"/>
              <a:gd name="connsiteY173" fmla="*/ 373273 h 605239"/>
              <a:gd name="connsiteX174" fmla="*/ 373273 h 605239"/>
              <a:gd name="connsiteY174" fmla="*/ 373273 h 605239"/>
              <a:gd name="connsiteX175" fmla="*/ 373273 h 605239"/>
              <a:gd name="connsiteY175" fmla="*/ 373273 h 605239"/>
              <a:gd name="connsiteX176" fmla="*/ 373273 h 605239"/>
              <a:gd name="connsiteY176" fmla="*/ 373273 h 605239"/>
              <a:gd name="connsiteX177" fmla="*/ 373273 h 605239"/>
              <a:gd name="connsiteY177" fmla="*/ 373273 h 605239"/>
              <a:gd name="connsiteX178" fmla="*/ 373273 h 605239"/>
              <a:gd name="connsiteY178" fmla="*/ 373273 h 605239"/>
              <a:gd name="connsiteX179" fmla="*/ 373273 h 605239"/>
              <a:gd name="connsiteY179" fmla="*/ 373273 h 605239"/>
              <a:gd name="connsiteX180" fmla="*/ 373273 h 605239"/>
              <a:gd name="connsiteY180" fmla="*/ 373273 h 605239"/>
              <a:gd name="connsiteX181" fmla="*/ 373273 h 605239"/>
              <a:gd name="connsiteY181" fmla="*/ 373273 h 605239"/>
              <a:gd name="connsiteX182" fmla="*/ 373273 h 605239"/>
              <a:gd name="connsiteY182" fmla="*/ 373273 h 605239"/>
              <a:gd name="connsiteX183" fmla="*/ 373273 h 605239"/>
              <a:gd name="connsiteY183" fmla="*/ 373273 h 605239"/>
              <a:gd name="connsiteX184" fmla="*/ 373273 h 605239"/>
              <a:gd name="connsiteY184" fmla="*/ 373273 h 605239"/>
              <a:gd name="connsiteX185" fmla="*/ 373273 h 605239"/>
              <a:gd name="connsiteY185" fmla="*/ 373273 h 605239"/>
              <a:gd name="connsiteX186" fmla="*/ 373273 h 605239"/>
              <a:gd name="connsiteY186" fmla="*/ 373273 h 605239"/>
              <a:gd name="connsiteX187" fmla="*/ 373273 h 605239"/>
              <a:gd name="connsiteY187" fmla="*/ 373273 h 605239"/>
              <a:gd name="connsiteX188" fmla="*/ 373273 h 605239"/>
              <a:gd name="connsiteY188" fmla="*/ 373273 h 605239"/>
              <a:gd name="connsiteX189" fmla="*/ 373273 h 605239"/>
              <a:gd name="connsiteY189" fmla="*/ 373273 h 605239"/>
              <a:gd name="connsiteX190" fmla="*/ 373273 h 605239"/>
              <a:gd name="connsiteY190" fmla="*/ 373273 h 605239"/>
              <a:gd name="connsiteX191" fmla="*/ 373273 h 605239"/>
              <a:gd name="connsiteY191" fmla="*/ 373273 h 605239"/>
              <a:gd name="connsiteX192" fmla="*/ 373273 h 605239"/>
              <a:gd name="connsiteY192" fmla="*/ 373273 h 605239"/>
              <a:gd name="connsiteX193" fmla="*/ 373273 h 605239"/>
              <a:gd name="connsiteY193" fmla="*/ 373273 h 605239"/>
              <a:gd name="connsiteX194" fmla="*/ 373273 h 605239"/>
              <a:gd name="connsiteY194" fmla="*/ 373273 h 605239"/>
              <a:gd name="connsiteX195" fmla="*/ 373273 h 605239"/>
              <a:gd name="connsiteY195" fmla="*/ 373273 h 605239"/>
              <a:gd name="connsiteX196" fmla="*/ 373273 h 605239"/>
              <a:gd name="connsiteY196" fmla="*/ 373273 h 605239"/>
              <a:gd name="connsiteX197" fmla="*/ 373273 h 605239"/>
              <a:gd name="connsiteY197" fmla="*/ 373273 h 605239"/>
              <a:gd name="connsiteX198" fmla="*/ 373273 h 605239"/>
              <a:gd name="connsiteY198" fmla="*/ 373273 h 605239"/>
              <a:gd name="connsiteX199" fmla="*/ 373273 h 605239"/>
              <a:gd name="connsiteY199" fmla="*/ 373273 h 605239"/>
              <a:gd name="connsiteX200" fmla="*/ 373273 h 605239"/>
              <a:gd name="connsiteY200" fmla="*/ 373273 h 605239"/>
              <a:gd name="connsiteX201" fmla="*/ 373273 h 605239"/>
              <a:gd name="connsiteY201" fmla="*/ 373273 h 605239"/>
              <a:gd name="connsiteX202" fmla="*/ 373273 h 605239"/>
              <a:gd name="connsiteY202" fmla="*/ 373273 h 605239"/>
              <a:gd name="connsiteX203" fmla="*/ 373273 h 605239"/>
              <a:gd name="connsiteY203" fmla="*/ 373273 h 605239"/>
              <a:gd name="connsiteX204" fmla="*/ 373273 h 605239"/>
              <a:gd name="connsiteY204" fmla="*/ 373273 h 605239"/>
              <a:gd name="connsiteX205" fmla="*/ 373273 h 605239"/>
              <a:gd name="connsiteY205" fmla="*/ 373273 h 605239"/>
              <a:gd name="connsiteX206" fmla="*/ 373273 h 605239"/>
              <a:gd name="connsiteY206" fmla="*/ 373273 h 605239"/>
              <a:gd name="connsiteX207" fmla="*/ 373273 h 605239"/>
              <a:gd name="connsiteY207" fmla="*/ 373273 h 605239"/>
              <a:gd name="connsiteX208" fmla="*/ 373273 h 605239"/>
              <a:gd name="connsiteY208" fmla="*/ 373273 h 605239"/>
              <a:gd name="connsiteX209" fmla="*/ 373273 h 605239"/>
              <a:gd name="connsiteY209" fmla="*/ 373273 h 605239"/>
              <a:gd name="connsiteX210" fmla="*/ 373273 h 605239"/>
              <a:gd name="connsiteY210" fmla="*/ 373273 h 605239"/>
              <a:gd name="connsiteX211" fmla="*/ 373273 h 605239"/>
              <a:gd name="connsiteY211" fmla="*/ 373273 h 605239"/>
              <a:gd name="connsiteX212" fmla="*/ 373273 h 605239"/>
              <a:gd name="connsiteY212" fmla="*/ 373273 h 605239"/>
              <a:gd name="connsiteX213" fmla="*/ 373273 h 605239"/>
              <a:gd name="connsiteY213" fmla="*/ 373273 h 605239"/>
              <a:gd name="connsiteX214" fmla="*/ 373273 h 605239"/>
              <a:gd name="connsiteY214" fmla="*/ 373273 h 605239"/>
              <a:gd name="connsiteX215" fmla="*/ 373273 h 605239"/>
              <a:gd name="connsiteY215" fmla="*/ 373273 h 605239"/>
              <a:gd name="connsiteX216" fmla="*/ 373273 h 605239"/>
              <a:gd name="connsiteY216" fmla="*/ 373273 h 605239"/>
              <a:gd name="connsiteX217" fmla="*/ 373273 h 605239"/>
              <a:gd name="connsiteY217" fmla="*/ 373273 h 605239"/>
              <a:gd name="connsiteX218" fmla="*/ 373273 h 605239"/>
              <a:gd name="connsiteY218" fmla="*/ 373273 h 605239"/>
              <a:gd name="connsiteX219" fmla="*/ 373273 h 605239"/>
              <a:gd name="connsiteY219" fmla="*/ 373273 h 605239"/>
              <a:gd name="connsiteX220" fmla="*/ 373273 h 605239"/>
              <a:gd name="connsiteY220" fmla="*/ 373273 h 605239"/>
              <a:gd name="connsiteX221" fmla="*/ 373273 h 605239"/>
              <a:gd name="connsiteY221" fmla="*/ 373273 h 605239"/>
              <a:gd name="connsiteX222" fmla="*/ 373273 h 605239"/>
              <a:gd name="connsiteY222" fmla="*/ 373273 h 605239"/>
              <a:gd name="connsiteX223" fmla="*/ 373273 h 605239"/>
              <a:gd name="connsiteY223" fmla="*/ 373273 h 605239"/>
              <a:gd name="connsiteX224" fmla="*/ 373273 h 605239"/>
              <a:gd name="connsiteY224" fmla="*/ 373273 h 605239"/>
              <a:gd name="connsiteX225" fmla="*/ 373273 h 605239"/>
              <a:gd name="connsiteY225" fmla="*/ 373273 h 605239"/>
              <a:gd name="connsiteX226" fmla="*/ 373273 h 605239"/>
              <a:gd name="connsiteY226" fmla="*/ 373273 h 605239"/>
              <a:gd name="connsiteX227" fmla="*/ 373273 h 605239"/>
              <a:gd name="connsiteY227" fmla="*/ 373273 h 605239"/>
              <a:gd name="connsiteX228" fmla="*/ 373273 h 605239"/>
              <a:gd name="connsiteY228" fmla="*/ 373273 h 605239"/>
              <a:gd name="connsiteX229" fmla="*/ 373273 h 605239"/>
              <a:gd name="connsiteY229" fmla="*/ 373273 h 605239"/>
              <a:gd name="connsiteX230" fmla="*/ 373273 h 605239"/>
              <a:gd name="connsiteY230" fmla="*/ 373273 h 605239"/>
              <a:gd name="connsiteX231" fmla="*/ 373273 h 605239"/>
              <a:gd name="connsiteY231" fmla="*/ 373273 h 605239"/>
              <a:gd name="connsiteX232" fmla="*/ 373273 h 605239"/>
              <a:gd name="connsiteY232" fmla="*/ 373273 h 605239"/>
              <a:gd name="connsiteX233" fmla="*/ 373273 h 605239"/>
              <a:gd name="connsiteY233" fmla="*/ 373273 h 605239"/>
              <a:gd name="connsiteX234" fmla="*/ 373273 h 605239"/>
              <a:gd name="connsiteY234" fmla="*/ 373273 h 605239"/>
              <a:gd name="connsiteX235" fmla="*/ 373273 h 605239"/>
              <a:gd name="connsiteY235" fmla="*/ 373273 h 605239"/>
              <a:gd name="connsiteX236" fmla="*/ 373273 h 605239"/>
              <a:gd name="connsiteY236" fmla="*/ 373273 h 605239"/>
              <a:gd name="connsiteX237" fmla="*/ 373273 h 605239"/>
              <a:gd name="connsiteY237"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608920" h="493535">
                <a:moveTo>
                  <a:pt x="263072" y="451316"/>
                </a:moveTo>
                <a:cubicBezTo>
                  <a:pt x="259714" y="450792"/>
                  <a:pt x="258140" y="451106"/>
                  <a:pt x="257616" y="451630"/>
                </a:cubicBezTo>
                <a:cubicBezTo>
                  <a:pt x="257511" y="456868"/>
                  <a:pt x="262023" y="465773"/>
                  <a:pt x="271676" y="470592"/>
                </a:cubicBezTo>
                <a:cubicBezTo>
                  <a:pt x="281854" y="475935"/>
                  <a:pt x="290983" y="475411"/>
                  <a:pt x="295390" y="472583"/>
                </a:cubicBezTo>
                <a:cubicBezTo>
                  <a:pt x="295705" y="470802"/>
                  <a:pt x="290668" y="463259"/>
                  <a:pt x="278916" y="457078"/>
                </a:cubicBezTo>
                <a:cubicBezTo>
                  <a:pt x="273879" y="454144"/>
                  <a:pt x="268108" y="452049"/>
                  <a:pt x="263072" y="451316"/>
                </a:cubicBezTo>
                <a:close/>
                <a:moveTo>
                  <a:pt x="362124" y="359963"/>
                </a:moveTo>
                <a:cubicBezTo>
                  <a:pt x="350477" y="363630"/>
                  <a:pt x="338725" y="366773"/>
                  <a:pt x="326868" y="369078"/>
                </a:cubicBezTo>
                <a:cubicBezTo>
                  <a:pt x="326658" y="369078"/>
                  <a:pt x="326554" y="369182"/>
                  <a:pt x="326344" y="369182"/>
                </a:cubicBezTo>
                <a:cubicBezTo>
                  <a:pt x="326239" y="369287"/>
                  <a:pt x="326134" y="369392"/>
                  <a:pt x="326134" y="369497"/>
                </a:cubicBezTo>
                <a:cubicBezTo>
                  <a:pt x="326973" y="377982"/>
                  <a:pt x="327393" y="386678"/>
                  <a:pt x="327288" y="395268"/>
                </a:cubicBezTo>
                <a:cubicBezTo>
                  <a:pt x="337361" y="424078"/>
                  <a:pt x="352891" y="447963"/>
                  <a:pt x="371987" y="464202"/>
                </a:cubicBezTo>
                <a:lnTo>
                  <a:pt x="384579" y="476040"/>
                </a:lnTo>
                <a:cubicBezTo>
                  <a:pt x="384894" y="476145"/>
                  <a:pt x="385208" y="476249"/>
                  <a:pt x="385628" y="476354"/>
                </a:cubicBezTo>
                <a:cubicBezTo>
                  <a:pt x="389196" y="478449"/>
                  <a:pt x="397065" y="473525"/>
                  <a:pt x="401367" y="465668"/>
                </a:cubicBezTo>
                <a:cubicBezTo>
                  <a:pt x="407138" y="455611"/>
                  <a:pt x="405669" y="450583"/>
                  <a:pt x="401367" y="445554"/>
                </a:cubicBezTo>
                <a:cubicBezTo>
                  <a:pt x="400423" y="444611"/>
                  <a:pt x="399898" y="443563"/>
                  <a:pt x="399688" y="442411"/>
                </a:cubicBezTo>
                <a:cubicBezTo>
                  <a:pt x="386153" y="425335"/>
                  <a:pt x="370518" y="406792"/>
                  <a:pt x="365587" y="385525"/>
                </a:cubicBezTo>
                <a:cubicBezTo>
                  <a:pt x="363383" y="377458"/>
                  <a:pt x="362439" y="368658"/>
                  <a:pt x="362124" y="359963"/>
                </a:cubicBezTo>
                <a:close/>
                <a:moveTo>
                  <a:pt x="233797" y="343725"/>
                </a:moveTo>
                <a:cubicBezTo>
                  <a:pt x="232643" y="345925"/>
                  <a:pt x="230964" y="348230"/>
                  <a:pt x="228760" y="350430"/>
                </a:cubicBezTo>
                <a:cubicBezTo>
                  <a:pt x="215120" y="364049"/>
                  <a:pt x="180703" y="379135"/>
                  <a:pt x="152058" y="379135"/>
                </a:cubicBezTo>
                <a:cubicBezTo>
                  <a:pt x="145657" y="379135"/>
                  <a:pt x="139886" y="378401"/>
                  <a:pt x="134850" y="376935"/>
                </a:cubicBezTo>
                <a:cubicBezTo>
                  <a:pt x="121419" y="373268"/>
                  <a:pt x="111241" y="366878"/>
                  <a:pt x="104945" y="358287"/>
                </a:cubicBezTo>
                <a:cubicBezTo>
                  <a:pt x="103056" y="360697"/>
                  <a:pt x="101273" y="363316"/>
                  <a:pt x="99804" y="366249"/>
                </a:cubicBezTo>
                <a:lnTo>
                  <a:pt x="26354" y="478973"/>
                </a:lnTo>
                <a:cubicBezTo>
                  <a:pt x="29817" y="479602"/>
                  <a:pt x="33279" y="478973"/>
                  <a:pt x="36007" y="477087"/>
                </a:cubicBezTo>
                <a:lnTo>
                  <a:pt x="114808" y="424811"/>
                </a:lnTo>
                <a:cubicBezTo>
                  <a:pt x="152897" y="399668"/>
                  <a:pt x="193609" y="381544"/>
                  <a:pt x="236945" y="370439"/>
                </a:cubicBezTo>
                <a:lnTo>
                  <a:pt x="240932" y="362687"/>
                </a:lnTo>
                <a:cubicBezTo>
                  <a:pt x="243031" y="359020"/>
                  <a:pt x="243031" y="354097"/>
                  <a:pt x="240932" y="350430"/>
                </a:cubicBezTo>
                <a:cubicBezTo>
                  <a:pt x="239253" y="347601"/>
                  <a:pt x="236630" y="345296"/>
                  <a:pt x="233797" y="343725"/>
                </a:cubicBezTo>
                <a:close/>
                <a:moveTo>
                  <a:pt x="134220" y="312611"/>
                </a:moveTo>
                <a:cubicBezTo>
                  <a:pt x="119110" y="312611"/>
                  <a:pt x="111975" y="328325"/>
                  <a:pt x="111975" y="336182"/>
                </a:cubicBezTo>
                <a:cubicBezTo>
                  <a:pt x="111975" y="353363"/>
                  <a:pt x="126351" y="360487"/>
                  <a:pt x="138522" y="363316"/>
                </a:cubicBezTo>
                <a:cubicBezTo>
                  <a:pt x="142824" y="364049"/>
                  <a:pt x="147126" y="364782"/>
                  <a:pt x="152058" y="364782"/>
                </a:cubicBezTo>
                <a:cubicBezTo>
                  <a:pt x="185005" y="364782"/>
                  <a:pt x="220891" y="343306"/>
                  <a:pt x="221625" y="335449"/>
                </a:cubicBezTo>
                <a:cubicBezTo>
                  <a:pt x="221625" y="331154"/>
                  <a:pt x="221625" y="330420"/>
                  <a:pt x="205781" y="329687"/>
                </a:cubicBezTo>
                <a:cubicBezTo>
                  <a:pt x="192245" y="329058"/>
                  <a:pt x="171470" y="327592"/>
                  <a:pt x="146392" y="314706"/>
                </a:cubicBezTo>
                <a:cubicBezTo>
                  <a:pt x="142090" y="313239"/>
                  <a:pt x="138522" y="312611"/>
                  <a:pt x="134220" y="312611"/>
                </a:cubicBezTo>
                <a:close/>
                <a:moveTo>
                  <a:pt x="354064" y="292515"/>
                </a:moveTo>
                <a:cubicBezTo>
                  <a:pt x="357739" y="291153"/>
                  <a:pt x="362045" y="293249"/>
                  <a:pt x="362675" y="297546"/>
                </a:cubicBezTo>
                <a:cubicBezTo>
                  <a:pt x="364145" y="301109"/>
                  <a:pt x="362045" y="305406"/>
                  <a:pt x="357739" y="306139"/>
                </a:cubicBezTo>
                <a:cubicBezTo>
                  <a:pt x="338417" y="312113"/>
                  <a:pt x="327181" y="321754"/>
                  <a:pt x="317100" y="331710"/>
                </a:cubicBezTo>
                <a:cubicBezTo>
                  <a:pt x="316470" y="334016"/>
                  <a:pt x="314790" y="336007"/>
                  <a:pt x="312585" y="336950"/>
                </a:cubicBezTo>
                <a:lnTo>
                  <a:pt x="309644" y="336950"/>
                </a:lnTo>
                <a:cubicBezTo>
                  <a:pt x="306809" y="336950"/>
                  <a:pt x="303974" y="334749"/>
                  <a:pt x="303239" y="331920"/>
                </a:cubicBezTo>
                <a:cubicBezTo>
                  <a:pt x="301033" y="325527"/>
                  <a:pt x="298198" y="319029"/>
                  <a:pt x="295363" y="312637"/>
                </a:cubicBezTo>
                <a:lnTo>
                  <a:pt x="290322" y="302576"/>
                </a:lnTo>
                <a:cubicBezTo>
                  <a:pt x="288852" y="299013"/>
                  <a:pt x="290322" y="294716"/>
                  <a:pt x="293893" y="293249"/>
                </a:cubicBezTo>
                <a:cubicBezTo>
                  <a:pt x="297463" y="291887"/>
                  <a:pt x="301768" y="293249"/>
                  <a:pt x="303239" y="296812"/>
                </a:cubicBezTo>
                <a:lnTo>
                  <a:pt x="308279" y="306873"/>
                </a:lnTo>
                <a:cubicBezTo>
                  <a:pt x="309644" y="310017"/>
                  <a:pt x="311009" y="313370"/>
                  <a:pt x="312480" y="316829"/>
                </a:cubicBezTo>
                <a:cubicBezTo>
                  <a:pt x="322246" y="307502"/>
                  <a:pt x="334742" y="298279"/>
                  <a:pt x="354064" y="292515"/>
                </a:cubicBezTo>
                <a:close/>
                <a:moveTo>
                  <a:pt x="404193" y="249618"/>
                </a:moveTo>
                <a:cubicBezTo>
                  <a:pt x="406400" y="248884"/>
                  <a:pt x="407766" y="250352"/>
                  <a:pt x="408501" y="251716"/>
                </a:cubicBezTo>
                <a:cubicBezTo>
                  <a:pt x="409237" y="253918"/>
                  <a:pt x="407766" y="255387"/>
                  <a:pt x="406400" y="256016"/>
                </a:cubicBezTo>
                <a:cubicBezTo>
                  <a:pt x="402827" y="257484"/>
                  <a:pt x="398519" y="258218"/>
                  <a:pt x="394946" y="259582"/>
                </a:cubicBezTo>
                <a:cubicBezTo>
                  <a:pt x="394946" y="260316"/>
                  <a:pt x="394946" y="260316"/>
                  <a:pt x="394210" y="260316"/>
                </a:cubicBezTo>
                <a:cubicBezTo>
                  <a:pt x="392739" y="260316"/>
                  <a:pt x="391268" y="259582"/>
                  <a:pt x="390638" y="257484"/>
                </a:cubicBezTo>
                <a:cubicBezTo>
                  <a:pt x="389902" y="255387"/>
                  <a:pt x="391268" y="253918"/>
                  <a:pt x="392739" y="253184"/>
                </a:cubicBezTo>
                <a:cubicBezTo>
                  <a:pt x="396312" y="251716"/>
                  <a:pt x="400620" y="251086"/>
                  <a:pt x="404193" y="249618"/>
                </a:cubicBezTo>
                <a:close/>
                <a:moveTo>
                  <a:pt x="364111" y="170962"/>
                </a:moveTo>
                <a:cubicBezTo>
                  <a:pt x="365576" y="169498"/>
                  <a:pt x="367670" y="170230"/>
                  <a:pt x="369135" y="171694"/>
                </a:cubicBezTo>
                <a:cubicBezTo>
                  <a:pt x="370496" y="173053"/>
                  <a:pt x="369868" y="175248"/>
                  <a:pt x="368403" y="176712"/>
                </a:cubicBezTo>
                <a:cubicBezTo>
                  <a:pt x="364111" y="179535"/>
                  <a:pt x="359086" y="183090"/>
                  <a:pt x="354794" y="185913"/>
                </a:cubicBezTo>
                <a:cubicBezTo>
                  <a:pt x="354062" y="186645"/>
                  <a:pt x="353434" y="186645"/>
                  <a:pt x="352701" y="186645"/>
                </a:cubicBezTo>
                <a:cubicBezTo>
                  <a:pt x="351235" y="186645"/>
                  <a:pt x="350503" y="185913"/>
                  <a:pt x="349770" y="185181"/>
                </a:cubicBezTo>
                <a:cubicBezTo>
                  <a:pt x="348409" y="183822"/>
                  <a:pt x="349142" y="181626"/>
                  <a:pt x="350503" y="180267"/>
                </a:cubicBezTo>
                <a:cubicBezTo>
                  <a:pt x="354794" y="176712"/>
                  <a:pt x="359819" y="173785"/>
                  <a:pt x="364111" y="170962"/>
                </a:cubicBezTo>
                <a:close/>
                <a:moveTo>
                  <a:pt x="380599" y="159574"/>
                </a:moveTo>
                <a:cubicBezTo>
                  <a:pt x="382069" y="158843"/>
                  <a:pt x="384168" y="158843"/>
                  <a:pt x="385638" y="160932"/>
                </a:cubicBezTo>
                <a:cubicBezTo>
                  <a:pt x="386373" y="162395"/>
                  <a:pt x="386373" y="164588"/>
                  <a:pt x="384168" y="165946"/>
                </a:cubicBezTo>
                <a:cubicBezTo>
                  <a:pt x="382804" y="166677"/>
                  <a:pt x="380599" y="168140"/>
                  <a:pt x="379129" y="168767"/>
                </a:cubicBezTo>
                <a:cubicBezTo>
                  <a:pt x="378499" y="169498"/>
                  <a:pt x="377764" y="169498"/>
                  <a:pt x="377030" y="169498"/>
                </a:cubicBezTo>
                <a:cubicBezTo>
                  <a:pt x="375560" y="169498"/>
                  <a:pt x="374825" y="168767"/>
                  <a:pt x="374195" y="168140"/>
                </a:cubicBezTo>
                <a:cubicBezTo>
                  <a:pt x="373460" y="166677"/>
                  <a:pt x="373460" y="164588"/>
                  <a:pt x="375560" y="163126"/>
                </a:cubicBezTo>
                <a:cubicBezTo>
                  <a:pt x="377030" y="161663"/>
                  <a:pt x="379129" y="160932"/>
                  <a:pt x="380599" y="159574"/>
                </a:cubicBezTo>
                <a:close/>
                <a:moveTo>
                  <a:pt x="346179" y="157320"/>
                </a:moveTo>
                <a:cubicBezTo>
                  <a:pt x="348381" y="158055"/>
                  <a:pt x="349115" y="160260"/>
                  <a:pt x="348381" y="161624"/>
                </a:cubicBezTo>
                <a:cubicBezTo>
                  <a:pt x="346179" y="168134"/>
                  <a:pt x="344081" y="174538"/>
                  <a:pt x="340516" y="180312"/>
                </a:cubicBezTo>
                <a:cubicBezTo>
                  <a:pt x="339782" y="181677"/>
                  <a:pt x="339048" y="182412"/>
                  <a:pt x="337580" y="182412"/>
                </a:cubicBezTo>
                <a:cubicBezTo>
                  <a:pt x="336950" y="182412"/>
                  <a:pt x="336216" y="182412"/>
                  <a:pt x="336216" y="181677"/>
                </a:cubicBezTo>
                <a:cubicBezTo>
                  <a:pt x="334748" y="181047"/>
                  <a:pt x="334014" y="178842"/>
                  <a:pt x="334748" y="176743"/>
                </a:cubicBezTo>
                <a:cubicBezTo>
                  <a:pt x="337580" y="170968"/>
                  <a:pt x="340516" y="165194"/>
                  <a:pt x="341879" y="159525"/>
                </a:cubicBezTo>
                <a:cubicBezTo>
                  <a:pt x="342613" y="157320"/>
                  <a:pt x="344815" y="156585"/>
                  <a:pt x="346179" y="157320"/>
                </a:cubicBezTo>
                <a:close/>
                <a:moveTo>
                  <a:pt x="260239" y="109476"/>
                </a:moveTo>
                <a:cubicBezTo>
                  <a:pt x="147756" y="98686"/>
                  <a:pt x="46081" y="181029"/>
                  <a:pt x="33909" y="293230"/>
                </a:cubicBezTo>
                <a:lnTo>
                  <a:pt x="14602" y="463468"/>
                </a:lnTo>
                <a:cubicBezTo>
                  <a:pt x="13973" y="468497"/>
                  <a:pt x="16071" y="473002"/>
                  <a:pt x="19534" y="475935"/>
                </a:cubicBezTo>
                <a:lnTo>
                  <a:pt x="93403" y="362687"/>
                </a:lnTo>
                <a:cubicBezTo>
                  <a:pt x="95921" y="358811"/>
                  <a:pt x="98545" y="355458"/>
                  <a:pt x="101063" y="351687"/>
                </a:cubicBezTo>
                <a:cubicBezTo>
                  <a:pt x="98859" y="346763"/>
                  <a:pt x="97705" y="341316"/>
                  <a:pt x="97705" y="335449"/>
                </a:cubicBezTo>
                <a:cubicBezTo>
                  <a:pt x="97705" y="319734"/>
                  <a:pt x="111975" y="297525"/>
                  <a:pt x="134220" y="297525"/>
                </a:cubicBezTo>
                <a:cubicBezTo>
                  <a:pt x="139886" y="297525"/>
                  <a:pt x="146392" y="298992"/>
                  <a:pt x="152792" y="302553"/>
                </a:cubicBezTo>
                <a:cubicBezTo>
                  <a:pt x="153737" y="303077"/>
                  <a:pt x="154786" y="303496"/>
                  <a:pt x="155730" y="304020"/>
                </a:cubicBezTo>
                <a:cubicBezTo>
                  <a:pt x="171260" y="295220"/>
                  <a:pt x="187524" y="288829"/>
                  <a:pt x="204312" y="284744"/>
                </a:cubicBezTo>
                <a:cubicBezTo>
                  <a:pt x="204312" y="284744"/>
                  <a:pt x="204417" y="284639"/>
                  <a:pt x="204417" y="284639"/>
                </a:cubicBezTo>
                <a:cubicBezTo>
                  <a:pt x="225822" y="278248"/>
                  <a:pt x="257406" y="264629"/>
                  <a:pt x="286051" y="235296"/>
                </a:cubicBezTo>
                <a:cubicBezTo>
                  <a:pt x="300322" y="221048"/>
                  <a:pt x="315431" y="207429"/>
                  <a:pt x="330436" y="195277"/>
                </a:cubicBezTo>
                <a:cubicBezTo>
                  <a:pt x="331905" y="193810"/>
                  <a:pt x="334003" y="194543"/>
                  <a:pt x="335472" y="196010"/>
                </a:cubicBezTo>
                <a:cubicBezTo>
                  <a:pt x="336941" y="197477"/>
                  <a:pt x="336207" y="199572"/>
                  <a:pt x="334738" y="201039"/>
                </a:cubicBezTo>
                <a:cubicBezTo>
                  <a:pt x="319733" y="213191"/>
                  <a:pt x="305358" y="226077"/>
                  <a:pt x="291088" y="240325"/>
                </a:cubicBezTo>
                <a:cubicBezTo>
                  <a:pt x="273145" y="258658"/>
                  <a:pt x="254258" y="271125"/>
                  <a:pt x="237260" y="279506"/>
                </a:cubicBezTo>
                <a:lnTo>
                  <a:pt x="271676" y="276048"/>
                </a:lnTo>
                <a:cubicBezTo>
                  <a:pt x="304624" y="273220"/>
                  <a:pt x="337571" y="267563"/>
                  <a:pt x="369154" y="258972"/>
                </a:cubicBezTo>
                <a:cubicBezTo>
                  <a:pt x="371253" y="258239"/>
                  <a:pt x="372722" y="259601"/>
                  <a:pt x="373456" y="261801"/>
                </a:cubicBezTo>
                <a:cubicBezTo>
                  <a:pt x="374191" y="263896"/>
                  <a:pt x="372722" y="265363"/>
                  <a:pt x="370518" y="266096"/>
                </a:cubicBezTo>
                <a:cubicBezTo>
                  <a:pt x="338306" y="274687"/>
                  <a:pt x="305358" y="280344"/>
                  <a:pt x="271676" y="283277"/>
                </a:cubicBezTo>
                <a:lnTo>
                  <a:pt x="228760" y="287572"/>
                </a:lnTo>
                <a:cubicBezTo>
                  <a:pt x="223199" y="287991"/>
                  <a:pt x="217743" y="288829"/>
                  <a:pt x="212392" y="289772"/>
                </a:cubicBezTo>
                <a:cubicBezTo>
                  <a:pt x="210083" y="290506"/>
                  <a:pt x="207880" y="291239"/>
                  <a:pt x="205781" y="291868"/>
                </a:cubicBezTo>
                <a:cubicBezTo>
                  <a:pt x="205256" y="291868"/>
                  <a:pt x="204837" y="291763"/>
                  <a:pt x="204312" y="291553"/>
                </a:cubicBezTo>
                <a:cubicBezTo>
                  <a:pt x="189937" y="295011"/>
                  <a:pt x="176191" y="300353"/>
                  <a:pt x="163075" y="307268"/>
                </a:cubicBezTo>
                <a:cubicBezTo>
                  <a:pt x="180808" y="314182"/>
                  <a:pt x="195813" y="314811"/>
                  <a:pt x="207250" y="315439"/>
                </a:cubicBezTo>
                <a:cubicBezTo>
                  <a:pt x="219422" y="316068"/>
                  <a:pt x="231593" y="317220"/>
                  <a:pt x="234951" y="328430"/>
                </a:cubicBezTo>
                <a:cubicBezTo>
                  <a:pt x="243345" y="330735"/>
                  <a:pt x="250271" y="336287"/>
                  <a:pt x="253838" y="344039"/>
                </a:cubicBezTo>
                <a:cubicBezTo>
                  <a:pt x="256986" y="350954"/>
                  <a:pt x="257301" y="359020"/>
                  <a:pt x="254992" y="366144"/>
                </a:cubicBezTo>
                <a:cubicBezTo>
                  <a:pt x="259504" y="365201"/>
                  <a:pt x="264121" y="364363"/>
                  <a:pt x="268738" y="363525"/>
                </a:cubicBezTo>
                <a:cubicBezTo>
                  <a:pt x="267794" y="352106"/>
                  <a:pt x="264961" y="340477"/>
                  <a:pt x="260239" y="329058"/>
                </a:cubicBezTo>
                <a:lnTo>
                  <a:pt x="255937" y="317534"/>
                </a:lnTo>
                <a:cubicBezTo>
                  <a:pt x="254573" y="313973"/>
                  <a:pt x="255937" y="309677"/>
                  <a:pt x="260239" y="308315"/>
                </a:cubicBezTo>
                <a:cubicBezTo>
                  <a:pt x="263806" y="306849"/>
                  <a:pt x="268108" y="308315"/>
                  <a:pt x="269577" y="312611"/>
                </a:cubicBezTo>
                <a:lnTo>
                  <a:pt x="273879" y="324030"/>
                </a:lnTo>
                <a:cubicBezTo>
                  <a:pt x="283218" y="346868"/>
                  <a:pt x="286051" y="370544"/>
                  <a:pt x="281749" y="393382"/>
                </a:cubicBezTo>
                <a:cubicBezTo>
                  <a:pt x="278601" y="411087"/>
                  <a:pt x="271466" y="428897"/>
                  <a:pt x="261393" y="444611"/>
                </a:cubicBezTo>
                <a:cubicBezTo>
                  <a:pt x="262128" y="444611"/>
                  <a:pt x="262967" y="444716"/>
                  <a:pt x="263806" y="444925"/>
                </a:cubicBezTo>
                <a:cubicBezTo>
                  <a:pt x="269577" y="445554"/>
                  <a:pt x="275348" y="447754"/>
                  <a:pt x="281749" y="451316"/>
                </a:cubicBezTo>
                <a:cubicBezTo>
                  <a:pt x="288150" y="454878"/>
                  <a:pt x="293186" y="459173"/>
                  <a:pt x="296754" y="462735"/>
                </a:cubicBezTo>
                <a:cubicBezTo>
                  <a:pt x="297803" y="463887"/>
                  <a:pt x="298643" y="465040"/>
                  <a:pt x="299272" y="465983"/>
                </a:cubicBezTo>
                <a:lnTo>
                  <a:pt x="302525" y="456344"/>
                </a:lnTo>
                <a:cubicBezTo>
                  <a:pt x="308926" y="438221"/>
                  <a:pt x="312598" y="418944"/>
                  <a:pt x="313438" y="399563"/>
                </a:cubicBezTo>
                <a:cubicBezTo>
                  <a:pt x="313333" y="399459"/>
                  <a:pt x="313333" y="399249"/>
                  <a:pt x="313228" y="399144"/>
                </a:cubicBezTo>
                <a:cubicBezTo>
                  <a:pt x="312493" y="397259"/>
                  <a:pt x="312703" y="395268"/>
                  <a:pt x="313647" y="393487"/>
                </a:cubicBezTo>
                <a:cubicBezTo>
                  <a:pt x="313647" y="384373"/>
                  <a:pt x="313123" y="375258"/>
                  <a:pt x="311864" y="366249"/>
                </a:cubicBezTo>
                <a:cubicBezTo>
                  <a:pt x="311234" y="363316"/>
                  <a:pt x="313018" y="359963"/>
                  <a:pt x="315536" y="358811"/>
                </a:cubicBezTo>
                <a:cubicBezTo>
                  <a:pt x="325085" y="346135"/>
                  <a:pt x="340089" y="329477"/>
                  <a:pt x="361285" y="317534"/>
                </a:cubicBezTo>
                <a:cubicBezTo>
                  <a:pt x="364852" y="315439"/>
                  <a:pt x="369154" y="316906"/>
                  <a:pt x="371253" y="320468"/>
                </a:cubicBezTo>
                <a:cubicBezTo>
                  <a:pt x="373456" y="324030"/>
                  <a:pt x="371987" y="328325"/>
                  <a:pt x="368420" y="330420"/>
                </a:cubicBezTo>
                <a:cubicBezTo>
                  <a:pt x="358452" y="336077"/>
                  <a:pt x="349953" y="343201"/>
                  <a:pt x="342712" y="350430"/>
                </a:cubicBezTo>
                <a:cubicBezTo>
                  <a:pt x="385208" y="339116"/>
                  <a:pt x="425081" y="319315"/>
                  <a:pt x="460127" y="291868"/>
                </a:cubicBezTo>
                <a:lnTo>
                  <a:pt x="589713" y="189515"/>
                </a:lnTo>
                <a:cubicBezTo>
                  <a:pt x="591812" y="187839"/>
                  <a:pt x="593281" y="185848"/>
                  <a:pt x="594225" y="183648"/>
                </a:cubicBezTo>
                <a:lnTo>
                  <a:pt x="453622" y="241058"/>
                </a:lnTo>
                <a:cubicBezTo>
                  <a:pt x="442919" y="245353"/>
                  <a:pt x="432216" y="249648"/>
                  <a:pt x="420674" y="253210"/>
                </a:cubicBezTo>
                <a:cubicBezTo>
                  <a:pt x="420674" y="252477"/>
                  <a:pt x="420674" y="252477"/>
                  <a:pt x="420045" y="252477"/>
                </a:cubicBezTo>
                <a:cubicBezTo>
                  <a:pt x="418576" y="252477"/>
                  <a:pt x="417107" y="251744"/>
                  <a:pt x="416372" y="250382"/>
                </a:cubicBezTo>
                <a:cubicBezTo>
                  <a:pt x="415742" y="248182"/>
                  <a:pt x="416372" y="246820"/>
                  <a:pt x="418576" y="246086"/>
                </a:cubicBezTo>
                <a:cubicBezTo>
                  <a:pt x="429278" y="242525"/>
                  <a:pt x="440086" y="238229"/>
                  <a:pt x="450788" y="233934"/>
                </a:cubicBezTo>
                <a:lnTo>
                  <a:pt x="592651" y="176001"/>
                </a:lnTo>
                <a:cubicBezTo>
                  <a:pt x="593491" y="175686"/>
                  <a:pt x="594225" y="175686"/>
                  <a:pt x="594855" y="175791"/>
                </a:cubicBezTo>
                <a:cubicBezTo>
                  <a:pt x="594855" y="175581"/>
                  <a:pt x="594855" y="175477"/>
                  <a:pt x="594750" y="175267"/>
                </a:cubicBezTo>
                <a:cubicBezTo>
                  <a:pt x="594015" y="169505"/>
                  <a:pt x="589713" y="165943"/>
                  <a:pt x="584782" y="164581"/>
                </a:cubicBezTo>
                <a:lnTo>
                  <a:pt x="581844" y="163848"/>
                </a:lnTo>
                <a:cubicBezTo>
                  <a:pt x="537249" y="151172"/>
                  <a:pt x="491710" y="140800"/>
                  <a:pt x="445857" y="132524"/>
                </a:cubicBezTo>
                <a:lnTo>
                  <a:pt x="410706" y="150962"/>
                </a:lnTo>
                <a:cubicBezTo>
                  <a:pt x="409971" y="151696"/>
                  <a:pt x="409237" y="151696"/>
                  <a:pt x="408502" y="151696"/>
                </a:cubicBezTo>
                <a:cubicBezTo>
                  <a:pt x="407138" y="151696"/>
                  <a:pt x="405669" y="150962"/>
                  <a:pt x="405669" y="149496"/>
                </a:cubicBezTo>
                <a:cubicBezTo>
                  <a:pt x="404935" y="148134"/>
                  <a:pt x="405669" y="145934"/>
                  <a:pt x="407138" y="144467"/>
                </a:cubicBezTo>
                <a:lnTo>
                  <a:pt x="434000" y="130429"/>
                </a:lnTo>
                <a:cubicBezTo>
                  <a:pt x="406404" y="125715"/>
                  <a:pt x="378808" y="121734"/>
                  <a:pt x="351107" y="118591"/>
                </a:cubicBezTo>
                <a:lnTo>
                  <a:pt x="351946" y="130953"/>
                </a:lnTo>
                <a:cubicBezTo>
                  <a:pt x="351946" y="136610"/>
                  <a:pt x="351946" y="143105"/>
                  <a:pt x="351212" y="148762"/>
                </a:cubicBezTo>
                <a:cubicBezTo>
                  <a:pt x="351212" y="150229"/>
                  <a:pt x="349743" y="151696"/>
                  <a:pt x="347644" y="151696"/>
                </a:cubicBezTo>
                <a:cubicBezTo>
                  <a:pt x="345546" y="151696"/>
                  <a:pt x="344077" y="149496"/>
                  <a:pt x="344077" y="147400"/>
                </a:cubicBezTo>
                <a:cubicBezTo>
                  <a:pt x="344811" y="141639"/>
                  <a:pt x="344811" y="136610"/>
                  <a:pt x="344811" y="130953"/>
                </a:cubicBezTo>
                <a:lnTo>
                  <a:pt x="343867" y="117753"/>
                </a:lnTo>
                <a:cubicBezTo>
                  <a:pt x="340404" y="117334"/>
                  <a:pt x="336837" y="117019"/>
                  <a:pt x="333269" y="116600"/>
                </a:cubicBezTo>
                <a:close/>
                <a:moveTo>
                  <a:pt x="346175" y="42952"/>
                </a:moveTo>
                <a:cubicBezTo>
                  <a:pt x="344811" y="42952"/>
                  <a:pt x="343552" y="42952"/>
                  <a:pt x="342398" y="43057"/>
                </a:cubicBezTo>
                <a:cubicBezTo>
                  <a:pt x="338306" y="67572"/>
                  <a:pt x="337991" y="83076"/>
                  <a:pt x="341663" y="103086"/>
                </a:cubicBezTo>
                <a:cubicBezTo>
                  <a:pt x="349113" y="103819"/>
                  <a:pt x="356668" y="104553"/>
                  <a:pt x="364118" y="105496"/>
                </a:cubicBezTo>
                <a:cubicBezTo>
                  <a:pt x="362964" y="91667"/>
                  <a:pt x="364013" y="78362"/>
                  <a:pt x="367685" y="58667"/>
                </a:cubicBezTo>
                <a:lnTo>
                  <a:pt x="369469" y="48924"/>
                </a:lnTo>
                <a:cubicBezTo>
                  <a:pt x="369259" y="48610"/>
                  <a:pt x="369154" y="48295"/>
                  <a:pt x="369154" y="47981"/>
                </a:cubicBezTo>
                <a:cubicBezTo>
                  <a:pt x="366951" y="46514"/>
                  <a:pt x="359081" y="42952"/>
                  <a:pt x="346175" y="42952"/>
                </a:cubicBezTo>
                <a:close/>
                <a:moveTo>
                  <a:pt x="303994" y="14352"/>
                </a:moveTo>
                <a:cubicBezTo>
                  <a:pt x="288360" y="14352"/>
                  <a:pt x="278496" y="19171"/>
                  <a:pt x="276817" y="20743"/>
                </a:cubicBezTo>
                <a:lnTo>
                  <a:pt x="277447" y="25771"/>
                </a:lnTo>
                <a:cubicBezTo>
                  <a:pt x="282798" y="56048"/>
                  <a:pt x="284372" y="75534"/>
                  <a:pt x="283428" y="97324"/>
                </a:cubicBezTo>
                <a:lnTo>
                  <a:pt x="326763" y="101619"/>
                </a:lnTo>
                <a:cubicBezTo>
                  <a:pt x="323406" y="79829"/>
                  <a:pt x="324350" y="62962"/>
                  <a:pt x="329072" y="34362"/>
                </a:cubicBezTo>
                <a:lnTo>
                  <a:pt x="331695" y="21267"/>
                </a:lnTo>
                <a:cubicBezTo>
                  <a:pt x="329596" y="18962"/>
                  <a:pt x="319733" y="14352"/>
                  <a:pt x="303994" y="14352"/>
                </a:cubicBezTo>
                <a:close/>
                <a:moveTo>
                  <a:pt x="303994" y="0"/>
                </a:moveTo>
                <a:cubicBezTo>
                  <a:pt x="323720" y="0"/>
                  <a:pt x="345546" y="6286"/>
                  <a:pt x="346175" y="20219"/>
                </a:cubicBezTo>
                <a:cubicBezTo>
                  <a:pt x="346385" y="21057"/>
                  <a:pt x="346385" y="22000"/>
                  <a:pt x="346175" y="22943"/>
                </a:cubicBezTo>
                <a:lnTo>
                  <a:pt x="345021" y="28705"/>
                </a:lnTo>
                <a:cubicBezTo>
                  <a:pt x="345441" y="28705"/>
                  <a:pt x="345860" y="28600"/>
                  <a:pt x="346175" y="28600"/>
                </a:cubicBezTo>
                <a:cubicBezTo>
                  <a:pt x="362439" y="28600"/>
                  <a:pt x="379857" y="33314"/>
                  <a:pt x="383005" y="43791"/>
                </a:cubicBezTo>
                <a:cubicBezTo>
                  <a:pt x="384054" y="45362"/>
                  <a:pt x="384579" y="47248"/>
                  <a:pt x="384159" y="49343"/>
                </a:cubicBezTo>
                <a:lnTo>
                  <a:pt x="382061" y="61495"/>
                </a:lnTo>
                <a:cubicBezTo>
                  <a:pt x="378703" y="81295"/>
                  <a:pt x="377863" y="93762"/>
                  <a:pt x="379437" y="107381"/>
                </a:cubicBezTo>
                <a:cubicBezTo>
                  <a:pt x="448795" y="116286"/>
                  <a:pt x="517838" y="130743"/>
                  <a:pt x="585411" y="149496"/>
                </a:cubicBezTo>
                <a:lnTo>
                  <a:pt x="588349" y="150229"/>
                </a:lnTo>
                <a:cubicBezTo>
                  <a:pt x="599052" y="153058"/>
                  <a:pt x="606187" y="161648"/>
                  <a:pt x="608391" y="172439"/>
                </a:cubicBezTo>
                <a:cubicBezTo>
                  <a:pt x="610489" y="183124"/>
                  <a:pt x="606187" y="193810"/>
                  <a:pt x="598317" y="200305"/>
                </a:cubicBezTo>
                <a:lnTo>
                  <a:pt x="468731" y="303287"/>
                </a:lnTo>
                <a:cubicBezTo>
                  <a:pt x="440820" y="325392"/>
                  <a:pt x="409342" y="342887"/>
                  <a:pt x="376289" y="355144"/>
                </a:cubicBezTo>
                <a:cubicBezTo>
                  <a:pt x="376499" y="364363"/>
                  <a:pt x="377234" y="373163"/>
                  <a:pt x="379123" y="381963"/>
                </a:cubicBezTo>
                <a:cubicBezTo>
                  <a:pt x="383425" y="399878"/>
                  <a:pt x="397800" y="417687"/>
                  <a:pt x="410706" y="433402"/>
                </a:cubicBezTo>
                <a:lnTo>
                  <a:pt x="413539" y="436963"/>
                </a:lnTo>
                <a:cubicBezTo>
                  <a:pt x="414169" y="437802"/>
                  <a:pt x="414588" y="438849"/>
                  <a:pt x="414798" y="439792"/>
                </a:cubicBezTo>
                <a:cubicBezTo>
                  <a:pt x="421409" y="449640"/>
                  <a:pt x="421199" y="460640"/>
                  <a:pt x="413539" y="472792"/>
                </a:cubicBezTo>
                <a:cubicBezTo>
                  <a:pt x="407138" y="484211"/>
                  <a:pt x="397065" y="491335"/>
                  <a:pt x="387727" y="491335"/>
                </a:cubicBezTo>
                <a:cubicBezTo>
                  <a:pt x="384159" y="491335"/>
                  <a:pt x="381326" y="490602"/>
                  <a:pt x="378493" y="489240"/>
                </a:cubicBezTo>
                <a:cubicBezTo>
                  <a:pt x="377339" y="488506"/>
                  <a:pt x="376499" y="487668"/>
                  <a:pt x="375975" y="486621"/>
                </a:cubicBezTo>
                <a:cubicBezTo>
                  <a:pt x="375765" y="486516"/>
                  <a:pt x="375660" y="486516"/>
                  <a:pt x="375555" y="486411"/>
                </a:cubicBezTo>
                <a:lnTo>
                  <a:pt x="362649" y="474887"/>
                </a:lnTo>
                <a:cubicBezTo>
                  <a:pt x="347959" y="462211"/>
                  <a:pt x="335053" y="445240"/>
                  <a:pt x="324665" y="425230"/>
                </a:cubicBezTo>
                <a:cubicBezTo>
                  <a:pt x="322776" y="437278"/>
                  <a:pt x="319733" y="449116"/>
                  <a:pt x="315431" y="460640"/>
                </a:cubicBezTo>
                <a:lnTo>
                  <a:pt x="311339" y="473002"/>
                </a:lnTo>
                <a:cubicBezTo>
                  <a:pt x="311549" y="474573"/>
                  <a:pt x="311339" y="476249"/>
                  <a:pt x="310395" y="477821"/>
                </a:cubicBezTo>
                <a:cubicBezTo>
                  <a:pt x="305358" y="485678"/>
                  <a:pt x="296754" y="489240"/>
                  <a:pt x="286786" y="489240"/>
                </a:cubicBezTo>
                <a:cubicBezTo>
                  <a:pt x="279546" y="489240"/>
                  <a:pt x="271676" y="487040"/>
                  <a:pt x="264541" y="483478"/>
                </a:cubicBezTo>
                <a:cubicBezTo>
                  <a:pt x="247333" y="474154"/>
                  <a:pt x="238099" y="454878"/>
                  <a:pt x="245234" y="441992"/>
                </a:cubicBezTo>
                <a:cubicBezTo>
                  <a:pt x="245864" y="440840"/>
                  <a:pt x="246808" y="440002"/>
                  <a:pt x="247857" y="439268"/>
                </a:cubicBezTo>
                <a:cubicBezTo>
                  <a:pt x="257616" y="424916"/>
                  <a:pt x="264751" y="408049"/>
                  <a:pt x="267374" y="390554"/>
                </a:cubicBezTo>
                <a:cubicBezTo>
                  <a:pt x="268213" y="386259"/>
                  <a:pt x="268738" y="381859"/>
                  <a:pt x="268948" y="377458"/>
                </a:cubicBezTo>
                <a:cubicBezTo>
                  <a:pt x="261603" y="378820"/>
                  <a:pt x="254363" y="380287"/>
                  <a:pt x="247123" y="382068"/>
                </a:cubicBezTo>
                <a:lnTo>
                  <a:pt x="230124" y="414859"/>
                </a:lnTo>
                <a:cubicBezTo>
                  <a:pt x="228760" y="416954"/>
                  <a:pt x="226557" y="418421"/>
                  <a:pt x="223724" y="418421"/>
                </a:cubicBezTo>
                <a:cubicBezTo>
                  <a:pt x="222255" y="418421"/>
                  <a:pt x="221625" y="418421"/>
                  <a:pt x="220156" y="417687"/>
                </a:cubicBezTo>
                <a:cubicBezTo>
                  <a:pt x="216589" y="416325"/>
                  <a:pt x="215120" y="411297"/>
                  <a:pt x="217323" y="408363"/>
                </a:cubicBezTo>
                <a:lnTo>
                  <a:pt x="228236" y="387201"/>
                </a:lnTo>
                <a:cubicBezTo>
                  <a:pt x="191511" y="398201"/>
                  <a:pt x="156045" y="414754"/>
                  <a:pt x="123413" y="436335"/>
                </a:cubicBezTo>
                <a:lnTo>
                  <a:pt x="44612" y="488506"/>
                </a:lnTo>
                <a:cubicBezTo>
                  <a:pt x="40309" y="492068"/>
                  <a:pt x="34643" y="493535"/>
                  <a:pt x="28872" y="493535"/>
                </a:cubicBezTo>
                <a:cubicBezTo>
                  <a:pt x="23836" y="493535"/>
                  <a:pt x="18904" y="492068"/>
                  <a:pt x="13868" y="489240"/>
                </a:cubicBezTo>
                <a:cubicBezTo>
                  <a:pt x="4529" y="483478"/>
                  <a:pt x="-1242" y="472792"/>
                  <a:pt x="227" y="461373"/>
                </a:cubicBezTo>
                <a:lnTo>
                  <a:pt x="18904" y="291134"/>
                </a:lnTo>
                <a:cubicBezTo>
                  <a:pt x="32440" y="171705"/>
                  <a:pt x="140621" y="82972"/>
                  <a:pt x="260973" y="95124"/>
                </a:cubicBezTo>
                <a:lnTo>
                  <a:pt x="269158" y="95962"/>
                </a:lnTo>
                <a:cubicBezTo>
                  <a:pt x="269997" y="75743"/>
                  <a:pt x="268423" y="57095"/>
                  <a:pt x="263072" y="28600"/>
                </a:cubicBezTo>
                <a:lnTo>
                  <a:pt x="262442" y="22943"/>
                </a:lnTo>
                <a:cubicBezTo>
                  <a:pt x="262232" y="22105"/>
                  <a:pt x="262232" y="21267"/>
                  <a:pt x="262442" y="20429"/>
                </a:cubicBezTo>
                <a:cubicBezTo>
                  <a:pt x="262442" y="20324"/>
                  <a:pt x="262442" y="20219"/>
                  <a:pt x="262442" y="20114"/>
                </a:cubicBezTo>
                <a:cubicBezTo>
                  <a:pt x="262442" y="6495"/>
                  <a:pt x="283848" y="0"/>
                  <a:pt x="303994" y="0"/>
                </a:cubicBezTo>
                <a:close/>
              </a:path>
            </a:pathLst>
          </a:custGeom>
          <a:solidFill>
            <a:srgbClr val="882D78"/>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sp>
        <p:nvSpPr>
          <p:cNvPr id="34" name="任意多边形: 形状 33"/>
          <p:cNvSpPr/>
          <p:nvPr/>
        </p:nvSpPr>
        <p:spPr>
          <a:xfrm>
            <a:off x="668951" y="3331149"/>
            <a:ext cx="468647" cy="388064"/>
          </a:xfrm>
          <a:custGeom>
            <a:avLst/>
            <a:gdLst>
              <a:gd name="T0" fmla="*/ 1907 w 2520"/>
              <a:gd name="T1" fmla="*/ 8 h 2005"/>
              <a:gd name="T2" fmla="*/ 1824 w 2520"/>
              <a:gd name="T3" fmla="*/ 0 h 2005"/>
              <a:gd name="T4" fmla="*/ 1477 w 2520"/>
              <a:gd name="T5" fmla="*/ 313 h 2005"/>
              <a:gd name="T6" fmla="*/ 1590 w 2520"/>
              <a:gd name="T7" fmla="*/ 711 h 2005"/>
              <a:gd name="T8" fmla="*/ 1604 w 2520"/>
              <a:gd name="T9" fmla="*/ 720 h 2005"/>
              <a:gd name="T10" fmla="*/ 1635 w 2520"/>
              <a:gd name="T11" fmla="*/ 740 h 2005"/>
              <a:gd name="T12" fmla="*/ 1646 w 2520"/>
              <a:gd name="T13" fmla="*/ 748 h 2005"/>
              <a:gd name="T14" fmla="*/ 1360 w 2520"/>
              <a:gd name="T15" fmla="*/ 1256 h 2005"/>
              <a:gd name="T16" fmla="*/ 1360 w 2520"/>
              <a:gd name="T17" fmla="*/ 1828 h 2005"/>
              <a:gd name="T18" fmla="*/ 1538 w 2520"/>
              <a:gd name="T19" fmla="*/ 2005 h 2005"/>
              <a:gd name="T20" fmla="*/ 1716 w 2520"/>
              <a:gd name="T21" fmla="*/ 1827 h 2005"/>
              <a:gd name="T22" fmla="*/ 1716 w 2520"/>
              <a:gd name="T23" fmla="*/ 1740 h 2005"/>
              <a:gd name="T24" fmla="*/ 1886 w 2520"/>
              <a:gd name="T25" fmla="*/ 1774 h 2005"/>
              <a:gd name="T26" fmla="*/ 1912 w 2520"/>
              <a:gd name="T27" fmla="*/ 1773 h 2005"/>
              <a:gd name="T28" fmla="*/ 2489 w 2520"/>
              <a:gd name="T29" fmla="*/ 848 h 2005"/>
              <a:gd name="T30" fmla="*/ 1907 w 2520"/>
              <a:gd name="T31" fmla="*/ 8 h 2005"/>
              <a:gd name="T32" fmla="*/ 1609 w 2520"/>
              <a:gd name="T33" fmla="*/ 1252 h 2005"/>
              <a:gd name="T34" fmla="*/ 1527 w 2520"/>
              <a:gd name="T35" fmla="*/ 1381 h 2005"/>
              <a:gd name="T36" fmla="*/ 1582 w 2520"/>
              <a:gd name="T37" fmla="*/ 1632 h 2005"/>
              <a:gd name="T38" fmla="*/ 1582 w 2520"/>
              <a:gd name="T39" fmla="*/ 1827 h 2005"/>
              <a:gd name="T40" fmla="*/ 1538 w 2520"/>
              <a:gd name="T41" fmla="*/ 1872 h 2005"/>
              <a:gd name="T42" fmla="*/ 1493 w 2520"/>
              <a:gd name="T43" fmla="*/ 1827 h 2005"/>
              <a:gd name="T44" fmla="*/ 1494 w 2520"/>
              <a:gd name="T45" fmla="*/ 1257 h 2005"/>
              <a:gd name="T46" fmla="*/ 1733 w 2520"/>
              <a:gd name="T47" fmla="*/ 857 h 2005"/>
              <a:gd name="T48" fmla="*/ 1744 w 2520"/>
              <a:gd name="T49" fmla="*/ 852 h 2005"/>
              <a:gd name="T50" fmla="*/ 1777 w 2520"/>
              <a:gd name="T51" fmla="*/ 963 h 2005"/>
              <a:gd name="T52" fmla="*/ 1609 w 2520"/>
              <a:gd name="T53" fmla="*/ 1252 h 2005"/>
              <a:gd name="T54" fmla="*/ 882 w 2520"/>
              <a:gd name="T55" fmla="*/ 741 h 2005"/>
              <a:gd name="T56" fmla="*/ 884 w 2520"/>
              <a:gd name="T57" fmla="*/ 740 h 2005"/>
              <a:gd name="T58" fmla="*/ 915 w 2520"/>
              <a:gd name="T59" fmla="*/ 720 h 2005"/>
              <a:gd name="T60" fmla="*/ 929 w 2520"/>
              <a:gd name="T61" fmla="*/ 711 h 2005"/>
              <a:gd name="T62" fmla="*/ 1042 w 2520"/>
              <a:gd name="T63" fmla="*/ 313 h 2005"/>
              <a:gd name="T64" fmla="*/ 695 w 2520"/>
              <a:gd name="T65" fmla="*/ 0 h 2005"/>
              <a:gd name="T66" fmla="*/ 612 w 2520"/>
              <a:gd name="T67" fmla="*/ 8 h 2005"/>
              <a:gd name="T68" fmla="*/ 31 w 2520"/>
              <a:gd name="T69" fmla="*/ 848 h 2005"/>
              <a:gd name="T70" fmla="*/ 608 w 2520"/>
              <a:gd name="T71" fmla="*/ 1773 h 2005"/>
              <a:gd name="T72" fmla="*/ 633 w 2520"/>
              <a:gd name="T73" fmla="*/ 1774 h 2005"/>
              <a:gd name="T74" fmla="*/ 633 w 2520"/>
              <a:gd name="T75" fmla="*/ 1774 h 2005"/>
              <a:gd name="T76" fmla="*/ 828 w 2520"/>
              <a:gd name="T77" fmla="*/ 1729 h 2005"/>
              <a:gd name="T78" fmla="*/ 828 w 2520"/>
              <a:gd name="T79" fmla="*/ 1827 h 2005"/>
              <a:gd name="T80" fmla="*/ 1005 w 2520"/>
              <a:gd name="T81" fmla="*/ 2005 h 2005"/>
              <a:gd name="T82" fmla="*/ 1183 w 2520"/>
              <a:gd name="T83" fmla="*/ 1828 h 2005"/>
              <a:gd name="T84" fmla="*/ 1183 w 2520"/>
              <a:gd name="T85" fmla="*/ 1256 h 2005"/>
              <a:gd name="T86" fmla="*/ 882 w 2520"/>
              <a:gd name="T87" fmla="*/ 741 h 2005"/>
              <a:gd name="T88" fmla="*/ 1050 w 2520"/>
              <a:gd name="T89" fmla="*/ 1827 h 2005"/>
              <a:gd name="T90" fmla="*/ 1005 w 2520"/>
              <a:gd name="T91" fmla="*/ 1872 h 2005"/>
              <a:gd name="T92" fmla="*/ 961 w 2520"/>
              <a:gd name="T93" fmla="*/ 1827 h 2005"/>
              <a:gd name="T94" fmla="*/ 961 w 2520"/>
              <a:gd name="T95" fmla="*/ 1592 h 2005"/>
              <a:gd name="T96" fmla="*/ 992 w 2520"/>
              <a:gd name="T97" fmla="*/ 1381 h 2005"/>
              <a:gd name="T98" fmla="*/ 910 w 2520"/>
              <a:gd name="T99" fmla="*/ 1252 h 2005"/>
              <a:gd name="T100" fmla="*/ 742 w 2520"/>
              <a:gd name="T101" fmla="*/ 963 h 2005"/>
              <a:gd name="T102" fmla="*/ 783 w 2520"/>
              <a:gd name="T103" fmla="*/ 839 h 2005"/>
              <a:gd name="T104" fmla="*/ 811 w 2520"/>
              <a:gd name="T105" fmla="*/ 857 h 2005"/>
              <a:gd name="T106" fmla="*/ 1050 w 2520"/>
              <a:gd name="T107" fmla="*/ 1257 h 2005"/>
              <a:gd name="T108" fmla="*/ 1050 w 2520"/>
              <a:gd name="T109" fmla="*/ 1827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20" h="2005">
                <a:moveTo>
                  <a:pt x="1907" y="8"/>
                </a:moveTo>
                <a:cubicBezTo>
                  <a:pt x="1879" y="3"/>
                  <a:pt x="1851" y="0"/>
                  <a:pt x="1824" y="0"/>
                </a:cubicBezTo>
                <a:cubicBezTo>
                  <a:pt x="1652" y="0"/>
                  <a:pt x="1535" y="105"/>
                  <a:pt x="1477" y="313"/>
                </a:cubicBezTo>
                <a:cubicBezTo>
                  <a:pt x="1400" y="590"/>
                  <a:pt x="1557" y="693"/>
                  <a:pt x="1590" y="711"/>
                </a:cubicBezTo>
                <a:cubicBezTo>
                  <a:pt x="1595" y="714"/>
                  <a:pt x="1600" y="717"/>
                  <a:pt x="1604" y="720"/>
                </a:cubicBezTo>
                <a:cubicBezTo>
                  <a:pt x="1615" y="726"/>
                  <a:pt x="1626" y="733"/>
                  <a:pt x="1635" y="740"/>
                </a:cubicBezTo>
                <a:cubicBezTo>
                  <a:pt x="1639" y="742"/>
                  <a:pt x="1643" y="745"/>
                  <a:pt x="1646" y="748"/>
                </a:cubicBezTo>
                <a:cubicBezTo>
                  <a:pt x="1527" y="805"/>
                  <a:pt x="1362" y="959"/>
                  <a:pt x="1360" y="1256"/>
                </a:cubicBezTo>
                <a:cubicBezTo>
                  <a:pt x="1359" y="1490"/>
                  <a:pt x="1360" y="1696"/>
                  <a:pt x="1360" y="1828"/>
                </a:cubicBezTo>
                <a:cubicBezTo>
                  <a:pt x="1360" y="1926"/>
                  <a:pt x="1440" y="2005"/>
                  <a:pt x="1538" y="2005"/>
                </a:cubicBezTo>
                <a:cubicBezTo>
                  <a:pt x="1636" y="2005"/>
                  <a:pt x="1716" y="1925"/>
                  <a:pt x="1716" y="1827"/>
                </a:cubicBezTo>
                <a:lnTo>
                  <a:pt x="1716" y="1740"/>
                </a:lnTo>
                <a:cubicBezTo>
                  <a:pt x="1761" y="1760"/>
                  <a:pt x="1817" y="1774"/>
                  <a:pt x="1886" y="1774"/>
                </a:cubicBezTo>
                <a:cubicBezTo>
                  <a:pt x="1894" y="1774"/>
                  <a:pt x="1903" y="1774"/>
                  <a:pt x="1912" y="1773"/>
                </a:cubicBezTo>
                <a:cubicBezTo>
                  <a:pt x="2266" y="1757"/>
                  <a:pt x="2452" y="1609"/>
                  <a:pt x="2489" y="848"/>
                </a:cubicBezTo>
                <a:cubicBezTo>
                  <a:pt x="2520" y="197"/>
                  <a:pt x="2092" y="44"/>
                  <a:pt x="1907" y="8"/>
                </a:cubicBezTo>
                <a:close/>
                <a:moveTo>
                  <a:pt x="1609" y="1252"/>
                </a:moveTo>
                <a:cubicBezTo>
                  <a:pt x="1566" y="1286"/>
                  <a:pt x="1537" y="1332"/>
                  <a:pt x="1527" y="1381"/>
                </a:cubicBezTo>
                <a:cubicBezTo>
                  <a:pt x="1510" y="1465"/>
                  <a:pt x="1531" y="1560"/>
                  <a:pt x="1582" y="1632"/>
                </a:cubicBezTo>
                <a:lnTo>
                  <a:pt x="1582" y="1827"/>
                </a:lnTo>
                <a:cubicBezTo>
                  <a:pt x="1582" y="1852"/>
                  <a:pt x="1562" y="1872"/>
                  <a:pt x="1538" y="1872"/>
                </a:cubicBezTo>
                <a:cubicBezTo>
                  <a:pt x="1513" y="1872"/>
                  <a:pt x="1493" y="1852"/>
                  <a:pt x="1493" y="1827"/>
                </a:cubicBezTo>
                <a:cubicBezTo>
                  <a:pt x="1493" y="1696"/>
                  <a:pt x="1493" y="1490"/>
                  <a:pt x="1494" y="1257"/>
                </a:cubicBezTo>
                <a:cubicBezTo>
                  <a:pt x="1495" y="934"/>
                  <a:pt x="1722" y="860"/>
                  <a:pt x="1733" y="857"/>
                </a:cubicBezTo>
                <a:cubicBezTo>
                  <a:pt x="1737" y="855"/>
                  <a:pt x="1741" y="854"/>
                  <a:pt x="1744" y="852"/>
                </a:cubicBezTo>
                <a:cubicBezTo>
                  <a:pt x="1765" y="887"/>
                  <a:pt x="1776" y="924"/>
                  <a:pt x="1777" y="963"/>
                </a:cubicBezTo>
                <a:cubicBezTo>
                  <a:pt x="1781" y="1093"/>
                  <a:pt x="1673" y="1199"/>
                  <a:pt x="1609" y="1252"/>
                </a:cubicBezTo>
                <a:close/>
                <a:moveTo>
                  <a:pt x="882" y="741"/>
                </a:moveTo>
                <a:cubicBezTo>
                  <a:pt x="883" y="741"/>
                  <a:pt x="883" y="740"/>
                  <a:pt x="884" y="740"/>
                </a:cubicBezTo>
                <a:cubicBezTo>
                  <a:pt x="894" y="733"/>
                  <a:pt x="904" y="726"/>
                  <a:pt x="915" y="720"/>
                </a:cubicBezTo>
                <a:cubicBezTo>
                  <a:pt x="919" y="717"/>
                  <a:pt x="924" y="714"/>
                  <a:pt x="929" y="711"/>
                </a:cubicBezTo>
                <a:cubicBezTo>
                  <a:pt x="962" y="693"/>
                  <a:pt x="1119" y="590"/>
                  <a:pt x="1042" y="313"/>
                </a:cubicBezTo>
                <a:cubicBezTo>
                  <a:pt x="984" y="105"/>
                  <a:pt x="868" y="0"/>
                  <a:pt x="695" y="0"/>
                </a:cubicBezTo>
                <a:cubicBezTo>
                  <a:pt x="668" y="0"/>
                  <a:pt x="640" y="3"/>
                  <a:pt x="612" y="8"/>
                </a:cubicBezTo>
                <a:cubicBezTo>
                  <a:pt x="427" y="44"/>
                  <a:pt x="0" y="197"/>
                  <a:pt x="31" y="848"/>
                </a:cubicBezTo>
                <a:cubicBezTo>
                  <a:pt x="67" y="1609"/>
                  <a:pt x="253" y="1757"/>
                  <a:pt x="608" y="1773"/>
                </a:cubicBezTo>
                <a:cubicBezTo>
                  <a:pt x="616" y="1773"/>
                  <a:pt x="625" y="1774"/>
                  <a:pt x="633" y="1774"/>
                </a:cubicBezTo>
                <a:lnTo>
                  <a:pt x="633" y="1774"/>
                </a:lnTo>
                <a:cubicBezTo>
                  <a:pt x="716" y="1774"/>
                  <a:pt x="779" y="1755"/>
                  <a:pt x="828" y="1729"/>
                </a:cubicBezTo>
                <a:lnTo>
                  <a:pt x="828" y="1827"/>
                </a:lnTo>
                <a:cubicBezTo>
                  <a:pt x="828" y="1925"/>
                  <a:pt x="907" y="2005"/>
                  <a:pt x="1005" y="2005"/>
                </a:cubicBezTo>
                <a:cubicBezTo>
                  <a:pt x="1103" y="2005"/>
                  <a:pt x="1183" y="1926"/>
                  <a:pt x="1183" y="1828"/>
                </a:cubicBezTo>
                <a:cubicBezTo>
                  <a:pt x="1184" y="1722"/>
                  <a:pt x="1184" y="1506"/>
                  <a:pt x="1183" y="1256"/>
                </a:cubicBezTo>
                <a:cubicBezTo>
                  <a:pt x="1181" y="947"/>
                  <a:pt x="1001" y="792"/>
                  <a:pt x="882" y="741"/>
                </a:cubicBezTo>
                <a:close/>
                <a:moveTo>
                  <a:pt x="1050" y="1827"/>
                </a:moveTo>
                <a:cubicBezTo>
                  <a:pt x="1050" y="1852"/>
                  <a:pt x="1030" y="1872"/>
                  <a:pt x="1005" y="1872"/>
                </a:cubicBezTo>
                <a:cubicBezTo>
                  <a:pt x="981" y="1872"/>
                  <a:pt x="961" y="1852"/>
                  <a:pt x="961" y="1827"/>
                </a:cubicBezTo>
                <a:lnTo>
                  <a:pt x="961" y="1592"/>
                </a:lnTo>
                <a:cubicBezTo>
                  <a:pt x="994" y="1527"/>
                  <a:pt x="1006" y="1451"/>
                  <a:pt x="992" y="1381"/>
                </a:cubicBezTo>
                <a:cubicBezTo>
                  <a:pt x="982" y="1332"/>
                  <a:pt x="953" y="1286"/>
                  <a:pt x="910" y="1252"/>
                </a:cubicBezTo>
                <a:cubicBezTo>
                  <a:pt x="846" y="1199"/>
                  <a:pt x="738" y="1093"/>
                  <a:pt x="742" y="963"/>
                </a:cubicBezTo>
                <a:cubicBezTo>
                  <a:pt x="744" y="919"/>
                  <a:pt x="757" y="878"/>
                  <a:pt x="783" y="839"/>
                </a:cubicBezTo>
                <a:cubicBezTo>
                  <a:pt x="790" y="847"/>
                  <a:pt x="800" y="853"/>
                  <a:pt x="811" y="857"/>
                </a:cubicBezTo>
                <a:cubicBezTo>
                  <a:pt x="820" y="860"/>
                  <a:pt x="1048" y="933"/>
                  <a:pt x="1050" y="1257"/>
                </a:cubicBezTo>
                <a:cubicBezTo>
                  <a:pt x="1051" y="1506"/>
                  <a:pt x="1050" y="1721"/>
                  <a:pt x="1050" y="1827"/>
                </a:cubicBezTo>
                <a:close/>
              </a:path>
            </a:pathLst>
          </a:custGeom>
          <a:solidFill>
            <a:srgbClr val="882D78"/>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5" name="任意多边形: 形状 34"/>
          <p:cNvSpPr/>
          <p:nvPr/>
        </p:nvSpPr>
        <p:spPr>
          <a:xfrm>
            <a:off x="728738" y="4471381"/>
            <a:ext cx="431876" cy="400856"/>
          </a:xfrm>
          <a:custGeom>
            <a:avLst/>
            <a:gdLst>
              <a:gd name="T0" fmla="*/ 6752 w 8576"/>
              <a:gd name="T1" fmla="*/ 4800 h 10912"/>
              <a:gd name="T2" fmla="*/ 5856 w 8576"/>
              <a:gd name="T3" fmla="*/ 2528 h 10912"/>
              <a:gd name="T4" fmla="*/ 5664 w 8576"/>
              <a:gd name="T5" fmla="*/ 64 h 10912"/>
              <a:gd name="T6" fmla="*/ 5248 w 8576"/>
              <a:gd name="T7" fmla="*/ 2272 h 10912"/>
              <a:gd name="T8" fmla="*/ 4768 w 8576"/>
              <a:gd name="T9" fmla="*/ 1152 h 10912"/>
              <a:gd name="T10" fmla="*/ 4192 w 8576"/>
              <a:gd name="T11" fmla="*/ 896 h 10912"/>
              <a:gd name="T12" fmla="*/ 1920 w 8576"/>
              <a:gd name="T13" fmla="*/ 2752 h 10912"/>
              <a:gd name="T14" fmla="*/ 1536 w 8576"/>
              <a:gd name="T15" fmla="*/ 2080 h 10912"/>
              <a:gd name="T16" fmla="*/ 2624 w 8576"/>
              <a:gd name="T17" fmla="*/ 64 h 10912"/>
              <a:gd name="T18" fmla="*/ 1472 w 8576"/>
              <a:gd name="T19" fmla="*/ 1408 h 10912"/>
              <a:gd name="T20" fmla="*/ 1376 w 8576"/>
              <a:gd name="T21" fmla="*/ 64 h 10912"/>
              <a:gd name="T22" fmla="*/ 1280 w 8576"/>
              <a:gd name="T23" fmla="*/ 3232 h 10912"/>
              <a:gd name="T24" fmla="*/ 1984 w 8576"/>
              <a:gd name="T25" fmla="*/ 8256 h 10912"/>
              <a:gd name="T26" fmla="*/ 5984 w 8576"/>
              <a:gd name="T27" fmla="*/ 10912 h 10912"/>
              <a:gd name="T28" fmla="*/ 7264 w 8576"/>
              <a:gd name="T29" fmla="*/ 10112 h 10912"/>
              <a:gd name="T30" fmla="*/ 6752 w 8576"/>
              <a:gd name="T31" fmla="*/ 9696 h 10912"/>
              <a:gd name="T32" fmla="*/ 4672 w 8576"/>
              <a:gd name="T33" fmla="*/ 9376 h 10912"/>
              <a:gd name="T34" fmla="*/ 704 w 8576"/>
              <a:gd name="T35" fmla="*/ 5760 h 10912"/>
              <a:gd name="T36" fmla="*/ 3616 w 8576"/>
              <a:gd name="T37" fmla="*/ 2816 h 10912"/>
              <a:gd name="T38" fmla="*/ 3552 w 8576"/>
              <a:gd name="T39" fmla="*/ 5568 h 10912"/>
              <a:gd name="T40" fmla="*/ 3616 w 8576"/>
              <a:gd name="T41" fmla="*/ 5760 h 10912"/>
              <a:gd name="T42" fmla="*/ 3232 w 8576"/>
              <a:gd name="T43" fmla="*/ 7776 h 10912"/>
              <a:gd name="T44" fmla="*/ 3616 w 8576"/>
              <a:gd name="T45" fmla="*/ 8032 h 10912"/>
              <a:gd name="T46" fmla="*/ 3968 w 8576"/>
              <a:gd name="T47" fmla="*/ 7008 h 10912"/>
              <a:gd name="T48" fmla="*/ 5216 w 8576"/>
              <a:gd name="T49" fmla="*/ 8896 h 10912"/>
              <a:gd name="T50" fmla="*/ 5696 w 8576"/>
              <a:gd name="T51" fmla="*/ 8928 h 10912"/>
              <a:gd name="T52" fmla="*/ 5280 w 8576"/>
              <a:gd name="T53" fmla="*/ 7904 h 10912"/>
              <a:gd name="T54" fmla="*/ 6208 w 8576"/>
              <a:gd name="T55" fmla="*/ 8064 h 10912"/>
              <a:gd name="T56" fmla="*/ 6144 w 8576"/>
              <a:gd name="T57" fmla="*/ 7424 h 10912"/>
              <a:gd name="T58" fmla="*/ 4288 w 8576"/>
              <a:gd name="T59" fmla="*/ 2816 h 10912"/>
              <a:gd name="T60" fmla="*/ 5664 w 8576"/>
              <a:gd name="T61" fmla="*/ 3200 h 10912"/>
              <a:gd name="T62" fmla="*/ 6144 w 8576"/>
              <a:gd name="T63" fmla="*/ 4896 h 10912"/>
              <a:gd name="T64" fmla="*/ 6048 w 8576"/>
              <a:gd name="T65" fmla="*/ 6496 h 10912"/>
              <a:gd name="T66" fmla="*/ 6592 w 8576"/>
              <a:gd name="T67" fmla="*/ 5856 h 10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76" h="10912">
                <a:moveTo>
                  <a:pt x="7008" y="5280"/>
                </a:moveTo>
                <a:cubicBezTo>
                  <a:pt x="6912" y="5120"/>
                  <a:pt x="6848" y="4960"/>
                  <a:pt x="6752" y="4800"/>
                </a:cubicBezTo>
                <a:cubicBezTo>
                  <a:pt x="6880" y="3648"/>
                  <a:pt x="6464" y="3008"/>
                  <a:pt x="6048" y="2656"/>
                </a:cubicBezTo>
                <a:cubicBezTo>
                  <a:pt x="5984" y="2592"/>
                  <a:pt x="5920" y="2560"/>
                  <a:pt x="5856" y="2528"/>
                </a:cubicBezTo>
                <a:cubicBezTo>
                  <a:pt x="6144" y="1856"/>
                  <a:pt x="6304" y="832"/>
                  <a:pt x="6080" y="256"/>
                </a:cubicBezTo>
                <a:cubicBezTo>
                  <a:pt x="6016" y="96"/>
                  <a:pt x="5824" y="0"/>
                  <a:pt x="5664" y="64"/>
                </a:cubicBezTo>
                <a:cubicBezTo>
                  <a:pt x="5504" y="128"/>
                  <a:pt x="5408" y="320"/>
                  <a:pt x="5472" y="480"/>
                </a:cubicBezTo>
                <a:cubicBezTo>
                  <a:pt x="5600" y="832"/>
                  <a:pt x="5472" y="1696"/>
                  <a:pt x="5248" y="2272"/>
                </a:cubicBezTo>
                <a:cubicBezTo>
                  <a:pt x="4992" y="2208"/>
                  <a:pt x="4704" y="2144"/>
                  <a:pt x="4416" y="2144"/>
                </a:cubicBezTo>
                <a:cubicBezTo>
                  <a:pt x="4512" y="1792"/>
                  <a:pt x="4640" y="1440"/>
                  <a:pt x="4768" y="1152"/>
                </a:cubicBezTo>
                <a:cubicBezTo>
                  <a:pt x="4832" y="992"/>
                  <a:pt x="4768" y="800"/>
                  <a:pt x="4608" y="736"/>
                </a:cubicBezTo>
                <a:cubicBezTo>
                  <a:pt x="4448" y="672"/>
                  <a:pt x="4256" y="736"/>
                  <a:pt x="4192" y="896"/>
                </a:cubicBezTo>
                <a:cubicBezTo>
                  <a:pt x="4032" y="1280"/>
                  <a:pt x="3872" y="1728"/>
                  <a:pt x="3744" y="2176"/>
                </a:cubicBezTo>
                <a:cubicBezTo>
                  <a:pt x="3040" y="2240"/>
                  <a:pt x="2368" y="2496"/>
                  <a:pt x="1920" y="2752"/>
                </a:cubicBezTo>
                <a:cubicBezTo>
                  <a:pt x="1856" y="2784"/>
                  <a:pt x="1824" y="2816"/>
                  <a:pt x="1760" y="2848"/>
                </a:cubicBezTo>
                <a:cubicBezTo>
                  <a:pt x="1664" y="2592"/>
                  <a:pt x="1568" y="2336"/>
                  <a:pt x="1536" y="2080"/>
                </a:cubicBezTo>
                <a:cubicBezTo>
                  <a:pt x="2240" y="1792"/>
                  <a:pt x="2656" y="1248"/>
                  <a:pt x="2848" y="448"/>
                </a:cubicBezTo>
                <a:cubicBezTo>
                  <a:pt x="2880" y="288"/>
                  <a:pt x="2784" y="96"/>
                  <a:pt x="2624" y="64"/>
                </a:cubicBezTo>
                <a:cubicBezTo>
                  <a:pt x="2464" y="32"/>
                  <a:pt x="2272" y="128"/>
                  <a:pt x="2240" y="288"/>
                </a:cubicBezTo>
                <a:cubicBezTo>
                  <a:pt x="2112" y="832"/>
                  <a:pt x="1856" y="1184"/>
                  <a:pt x="1472" y="1408"/>
                </a:cubicBezTo>
                <a:cubicBezTo>
                  <a:pt x="1472" y="1088"/>
                  <a:pt x="1504" y="768"/>
                  <a:pt x="1600" y="448"/>
                </a:cubicBezTo>
                <a:cubicBezTo>
                  <a:pt x="1632" y="288"/>
                  <a:pt x="1536" y="96"/>
                  <a:pt x="1376" y="64"/>
                </a:cubicBezTo>
                <a:cubicBezTo>
                  <a:pt x="1216" y="32"/>
                  <a:pt x="1024" y="128"/>
                  <a:pt x="992" y="288"/>
                </a:cubicBezTo>
                <a:cubicBezTo>
                  <a:pt x="736" y="1312"/>
                  <a:pt x="832" y="2304"/>
                  <a:pt x="1280" y="3232"/>
                </a:cubicBezTo>
                <a:cubicBezTo>
                  <a:pt x="576" y="3872"/>
                  <a:pt x="0" y="4800"/>
                  <a:pt x="64" y="5792"/>
                </a:cubicBezTo>
                <a:cubicBezTo>
                  <a:pt x="96" y="6496"/>
                  <a:pt x="448" y="7488"/>
                  <a:pt x="1984" y="8256"/>
                </a:cubicBezTo>
                <a:cubicBezTo>
                  <a:pt x="2944" y="8736"/>
                  <a:pt x="3648" y="9376"/>
                  <a:pt x="4224" y="9888"/>
                </a:cubicBezTo>
                <a:cubicBezTo>
                  <a:pt x="4864" y="10464"/>
                  <a:pt x="5408" y="10912"/>
                  <a:pt x="5984" y="10912"/>
                </a:cubicBezTo>
                <a:lnTo>
                  <a:pt x="6112" y="10912"/>
                </a:lnTo>
                <a:cubicBezTo>
                  <a:pt x="6528" y="10880"/>
                  <a:pt x="6880" y="10624"/>
                  <a:pt x="7264" y="10112"/>
                </a:cubicBezTo>
                <a:cubicBezTo>
                  <a:pt x="8576" y="8288"/>
                  <a:pt x="7776" y="6752"/>
                  <a:pt x="7008" y="5280"/>
                </a:cubicBezTo>
                <a:close/>
                <a:moveTo>
                  <a:pt x="6752" y="9696"/>
                </a:moveTo>
                <a:cubicBezTo>
                  <a:pt x="6496" y="10048"/>
                  <a:pt x="6272" y="10240"/>
                  <a:pt x="6048" y="10240"/>
                </a:cubicBezTo>
                <a:cubicBezTo>
                  <a:pt x="5696" y="10272"/>
                  <a:pt x="5248" y="9888"/>
                  <a:pt x="4672" y="9376"/>
                </a:cubicBezTo>
                <a:cubicBezTo>
                  <a:pt x="4064" y="8832"/>
                  <a:pt x="3296" y="8192"/>
                  <a:pt x="2272" y="7680"/>
                </a:cubicBezTo>
                <a:cubicBezTo>
                  <a:pt x="1280" y="7168"/>
                  <a:pt x="736" y="6528"/>
                  <a:pt x="704" y="5760"/>
                </a:cubicBezTo>
                <a:cubicBezTo>
                  <a:pt x="672" y="4736"/>
                  <a:pt x="1504" y="3776"/>
                  <a:pt x="2304" y="3264"/>
                </a:cubicBezTo>
                <a:cubicBezTo>
                  <a:pt x="2624" y="3072"/>
                  <a:pt x="3104" y="2912"/>
                  <a:pt x="3616" y="2816"/>
                </a:cubicBezTo>
                <a:cubicBezTo>
                  <a:pt x="3456" y="3648"/>
                  <a:pt x="3424" y="4512"/>
                  <a:pt x="3552" y="5440"/>
                </a:cubicBezTo>
                <a:lnTo>
                  <a:pt x="3552" y="5568"/>
                </a:lnTo>
                <a:cubicBezTo>
                  <a:pt x="3552" y="5600"/>
                  <a:pt x="3552" y="5600"/>
                  <a:pt x="3584" y="5632"/>
                </a:cubicBezTo>
                <a:cubicBezTo>
                  <a:pt x="3584" y="5664"/>
                  <a:pt x="3616" y="5696"/>
                  <a:pt x="3616" y="5760"/>
                </a:cubicBezTo>
                <a:cubicBezTo>
                  <a:pt x="3680" y="6112"/>
                  <a:pt x="3552" y="6400"/>
                  <a:pt x="3424" y="6688"/>
                </a:cubicBezTo>
                <a:cubicBezTo>
                  <a:pt x="3296" y="7040"/>
                  <a:pt x="3136" y="7392"/>
                  <a:pt x="3232" y="7776"/>
                </a:cubicBezTo>
                <a:cubicBezTo>
                  <a:pt x="3264" y="7936"/>
                  <a:pt x="3392" y="8032"/>
                  <a:pt x="3552" y="8032"/>
                </a:cubicBezTo>
                <a:lnTo>
                  <a:pt x="3616" y="8032"/>
                </a:lnTo>
                <a:cubicBezTo>
                  <a:pt x="3776" y="8000"/>
                  <a:pt x="3904" y="7808"/>
                  <a:pt x="3840" y="7648"/>
                </a:cubicBezTo>
                <a:cubicBezTo>
                  <a:pt x="3808" y="7456"/>
                  <a:pt x="3872" y="7232"/>
                  <a:pt x="3968" y="7008"/>
                </a:cubicBezTo>
                <a:lnTo>
                  <a:pt x="4000" y="7040"/>
                </a:lnTo>
                <a:cubicBezTo>
                  <a:pt x="4288" y="7680"/>
                  <a:pt x="4672" y="8288"/>
                  <a:pt x="5216" y="8896"/>
                </a:cubicBezTo>
                <a:cubicBezTo>
                  <a:pt x="5280" y="8960"/>
                  <a:pt x="5376" y="8992"/>
                  <a:pt x="5472" y="8992"/>
                </a:cubicBezTo>
                <a:cubicBezTo>
                  <a:pt x="5536" y="8992"/>
                  <a:pt x="5632" y="8960"/>
                  <a:pt x="5696" y="8928"/>
                </a:cubicBezTo>
                <a:cubicBezTo>
                  <a:pt x="5824" y="8800"/>
                  <a:pt x="5856" y="8608"/>
                  <a:pt x="5728" y="8480"/>
                </a:cubicBezTo>
                <a:cubicBezTo>
                  <a:pt x="5568" y="8288"/>
                  <a:pt x="5408" y="8096"/>
                  <a:pt x="5280" y="7904"/>
                </a:cubicBezTo>
                <a:cubicBezTo>
                  <a:pt x="5568" y="8000"/>
                  <a:pt x="5824" y="8064"/>
                  <a:pt x="6048" y="8064"/>
                </a:cubicBezTo>
                <a:lnTo>
                  <a:pt x="6208" y="8064"/>
                </a:lnTo>
                <a:cubicBezTo>
                  <a:pt x="6368" y="8032"/>
                  <a:pt x="6496" y="7872"/>
                  <a:pt x="6496" y="7712"/>
                </a:cubicBezTo>
                <a:cubicBezTo>
                  <a:pt x="6464" y="7552"/>
                  <a:pt x="6304" y="7424"/>
                  <a:pt x="6144" y="7424"/>
                </a:cubicBezTo>
                <a:cubicBezTo>
                  <a:pt x="5760" y="7456"/>
                  <a:pt x="5088" y="7200"/>
                  <a:pt x="4608" y="6720"/>
                </a:cubicBezTo>
                <a:cubicBezTo>
                  <a:pt x="4032" y="5376"/>
                  <a:pt x="4032" y="4000"/>
                  <a:pt x="4288" y="2816"/>
                </a:cubicBezTo>
                <a:lnTo>
                  <a:pt x="4320" y="2816"/>
                </a:lnTo>
                <a:cubicBezTo>
                  <a:pt x="4832" y="2816"/>
                  <a:pt x="5344" y="2912"/>
                  <a:pt x="5664" y="3200"/>
                </a:cubicBezTo>
                <a:cubicBezTo>
                  <a:pt x="6112" y="3552"/>
                  <a:pt x="6208" y="4160"/>
                  <a:pt x="6144" y="4800"/>
                </a:cubicBezTo>
                <a:lnTo>
                  <a:pt x="6144" y="4896"/>
                </a:lnTo>
                <a:cubicBezTo>
                  <a:pt x="6080" y="5280"/>
                  <a:pt x="5984" y="5696"/>
                  <a:pt x="5856" y="6080"/>
                </a:cubicBezTo>
                <a:cubicBezTo>
                  <a:pt x="5792" y="6240"/>
                  <a:pt x="5888" y="6432"/>
                  <a:pt x="6048" y="6496"/>
                </a:cubicBezTo>
                <a:cubicBezTo>
                  <a:pt x="6208" y="6560"/>
                  <a:pt x="6400" y="6464"/>
                  <a:pt x="6464" y="6304"/>
                </a:cubicBezTo>
                <a:cubicBezTo>
                  <a:pt x="6528" y="6144"/>
                  <a:pt x="6560" y="6016"/>
                  <a:pt x="6592" y="5856"/>
                </a:cubicBezTo>
                <a:cubicBezTo>
                  <a:pt x="7264" y="7136"/>
                  <a:pt x="7776" y="8320"/>
                  <a:pt x="6752" y="9696"/>
                </a:cubicBezTo>
                <a:close/>
              </a:path>
            </a:pathLst>
          </a:custGeom>
          <a:solidFill>
            <a:srgbClr val="882D78"/>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6" name="任意多边形: 形状 35"/>
          <p:cNvSpPr/>
          <p:nvPr/>
        </p:nvSpPr>
        <p:spPr>
          <a:xfrm>
            <a:off x="657676" y="5619179"/>
            <a:ext cx="432192" cy="278257"/>
          </a:xfrm>
          <a:custGeom>
            <a:avLst/>
            <a:gdLst>
              <a:gd name="T0" fmla="*/ 11689 w 12018"/>
              <a:gd name="T1" fmla="*/ 4230 h 8628"/>
              <a:gd name="T2" fmla="*/ 6009 w 12018"/>
              <a:gd name="T3" fmla="*/ 1779 h 8628"/>
              <a:gd name="T4" fmla="*/ 5266 w 12018"/>
              <a:gd name="T5" fmla="*/ 1813 h 8628"/>
              <a:gd name="T6" fmla="*/ 330 w 12018"/>
              <a:gd name="T7" fmla="*/ 4229 h 8628"/>
              <a:gd name="T8" fmla="*/ 177 w 12018"/>
              <a:gd name="T9" fmla="*/ 5351 h 8628"/>
              <a:gd name="T10" fmla="*/ 6009 w 12018"/>
              <a:gd name="T11" fmla="*/ 8628 h 8628"/>
              <a:gd name="T12" fmla="*/ 11841 w 12018"/>
              <a:gd name="T13" fmla="*/ 5350 h 8628"/>
              <a:gd name="T14" fmla="*/ 11689 w 12018"/>
              <a:gd name="T15" fmla="*/ 4230 h 8628"/>
              <a:gd name="T16" fmla="*/ 6009 w 12018"/>
              <a:gd name="T17" fmla="*/ 4969 h 8628"/>
              <a:gd name="T18" fmla="*/ 7807 w 12018"/>
              <a:gd name="T19" fmla="*/ 3206 h 8628"/>
              <a:gd name="T20" fmla="*/ 7712 w 12018"/>
              <a:gd name="T21" fmla="*/ 2669 h 8628"/>
              <a:gd name="T22" fmla="*/ 8877 w 12018"/>
              <a:gd name="T23" fmla="*/ 3026 h 8628"/>
              <a:gd name="T24" fmla="*/ 6009 w 12018"/>
              <a:gd name="T25" fmla="*/ 5718 h 8628"/>
              <a:gd name="T26" fmla="*/ 3143 w 12018"/>
              <a:gd name="T27" fmla="*/ 3056 h 8628"/>
              <a:gd name="T28" fmla="*/ 4299 w 12018"/>
              <a:gd name="T29" fmla="*/ 2695 h 8628"/>
              <a:gd name="T30" fmla="*/ 4211 w 12018"/>
              <a:gd name="T31" fmla="*/ 3206 h 8628"/>
              <a:gd name="T32" fmla="*/ 6009 w 12018"/>
              <a:gd name="T33" fmla="*/ 4969 h 8628"/>
              <a:gd name="T34" fmla="*/ 5333 w 12018"/>
              <a:gd name="T35" fmla="*/ 2529 h 8628"/>
              <a:gd name="T36" fmla="*/ 6009 w 12018"/>
              <a:gd name="T37" fmla="*/ 2498 h 8628"/>
              <a:gd name="T38" fmla="*/ 6831 w 12018"/>
              <a:gd name="T39" fmla="*/ 2534 h 8628"/>
              <a:gd name="T40" fmla="*/ 6823 w 12018"/>
              <a:gd name="T41" fmla="*/ 2542 h 8628"/>
              <a:gd name="T42" fmla="*/ 7088 w 12018"/>
              <a:gd name="T43" fmla="*/ 3206 h 8628"/>
              <a:gd name="T44" fmla="*/ 6009 w 12018"/>
              <a:gd name="T45" fmla="*/ 4250 h 8628"/>
              <a:gd name="T46" fmla="*/ 4930 w 12018"/>
              <a:gd name="T47" fmla="*/ 3206 h 8628"/>
              <a:gd name="T48" fmla="*/ 5191 w 12018"/>
              <a:gd name="T49" fmla="*/ 2548 h 8628"/>
              <a:gd name="T50" fmla="*/ 5333 w 12018"/>
              <a:gd name="T51" fmla="*/ 2529 h 8628"/>
              <a:gd name="T52" fmla="*/ 11192 w 12018"/>
              <a:gd name="T53" fmla="*/ 5042 h 8628"/>
              <a:gd name="T54" fmla="*/ 6009 w 12018"/>
              <a:gd name="T55" fmla="*/ 7909 h 8628"/>
              <a:gd name="T56" fmla="*/ 827 w 12018"/>
              <a:gd name="T57" fmla="*/ 5042 h 8628"/>
              <a:gd name="T58" fmla="*/ 871 w 12018"/>
              <a:gd name="T59" fmla="*/ 4703 h 8628"/>
              <a:gd name="T60" fmla="*/ 2462 w 12018"/>
              <a:gd name="T61" fmla="*/ 3390 h 8628"/>
              <a:gd name="T62" fmla="*/ 6009 w 12018"/>
              <a:gd name="T63" fmla="*/ 6438 h 8628"/>
              <a:gd name="T64" fmla="*/ 9560 w 12018"/>
              <a:gd name="T65" fmla="*/ 3370 h 8628"/>
              <a:gd name="T66" fmla="*/ 11148 w 12018"/>
              <a:gd name="T67" fmla="*/ 4703 h 8628"/>
              <a:gd name="T68" fmla="*/ 11192 w 12018"/>
              <a:gd name="T69" fmla="*/ 5042 h 8628"/>
              <a:gd name="T70" fmla="*/ 6009 w 12018"/>
              <a:gd name="T71" fmla="*/ 719 h 8628"/>
              <a:gd name="T72" fmla="*/ 10486 w 12018"/>
              <a:gd name="T73" fmla="*/ 2083 h 8628"/>
              <a:gd name="T74" fmla="*/ 10880 w 12018"/>
              <a:gd name="T75" fmla="*/ 1482 h 8628"/>
              <a:gd name="T76" fmla="*/ 6009 w 12018"/>
              <a:gd name="T77" fmla="*/ 0 h 8628"/>
              <a:gd name="T78" fmla="*/ 1138 w 12018"/>
              <a:gd name="T79" fmla="*/ 1482 h 8628"/>
              <a:gd name="T80" fmla="*/ 1532 w 12018"/>
              <a:gd name="T81" fmla="*/ 2083 h 8628"/>
              <a:gd name="T82" fmla="*/ 6009 w 12018"/>
              <a:gd name="T83" fmla="*/ 719 h 8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18" h="8628">
                <a:moveTo>
                  <a:pt x="11689" y="4230"/>
                </a:moveTo>
                <a:cubicBezTo>
                  <a:pt x="10246" y="2581"/>
                  <a:pt x="8388" y="1779"/>
                  <a:pt x="6009" y="1779"/>
                </a:cubicBezTo>
                <a:cubicBezTo>
                  <a:pt x="5760" y="1779"/>
                  <a:pt x="5510" y="1790"/>
                  <a:pt x="5266" y="1813"/>
                </a:cubicBezTo>
                <a:cubicBezTo>
                  <a:pt x="3199" y="2008"/>
                  <a:pt x="1584" y="2798"/>
                  <a:pt x="330" y="4229"/>
                </a:cubicBezTo>
                <a:cubicBezTo>
                  <a:pt x="60" y="4538"/>
                  <a:pt x="0" y="4978"/>
                  <a:pt x="177" y="5351"/>
                </a:cubicBezTo>
                <a:cubicBezTo>
                  <a:pt x="645" y="6336"/>
                  <a:pt x="2151" y="8628"/>
                  <a:pt x="6009" y="8628"/>
                </a:cubicBezTo>
                <a:cubicBezTo>
                  <a:pt x="9868" y="8628"/>
                  <a:pt x="11373" y="6336"/>
                  <a:pt x="11841" y="5350"/>
                </a:cubicBezTo>
                <a:cubicBezTo>
                  <a:pt x="12018" y="4978"/>
                  <a:pt x="11958" y="4538"/>
                  <a:pt x="11689" y="4230"/>
                </a:cubicBezTo>
                <a:close/>
                <a:moveTo>
                  <a:pt x="6009" y="4969"/>
                </a:moveTo>
                <a:cubicBezTo>
                  <a:pt x="7000" y="4969"/>
                  <a:pt x="7807" y="4178"/>
                  <a:pt x="7807" y="3206"/>
                </a:cubicBezTo>
                <a:cubicBezTo>
                  <a:pt x="7807" y="3022"/>
                  <a:pt x="7771" y="2842"/>
                  <a:pt x="7712" y="2669"/>
                </a:cubicBezTo>
                <a:cubicBezTo>
                  <a:pt x="8121" y="2755"/>
                  <a:pt x="8511" y="2871"/>
                  <a:pt x="8877" y="3026"/>
                </a:cubicBezTo>
                <a:cubicBezTo>
                  <a:pt x="8791" y="4410"/>
                  <a:pt x="7540" y="5718"/>
                  <a:pt x="6009" y="5718"/>
                </a:cubicBezTo>
                <a:cubicBezTo>
                  <a:pt x="4515" y="5718"/>
                  <a:pt x="3246" y="4428"/>
                  <a:pt x="3143" y="3056"/>
                </a:cubicBezTo>
                <a:cubicBezTo>
                  <a:pt x="3505" y="2904"/>
                  <a:pt x="3890" y="2785"/>
                  <a:pt x="4299" y="2695"/>
                </a:cubicBezTo>
                <a:cubicBezTo>
                  <a:pt x="4245" y="2860"/>
                  <a:pt x="4211" y="3031"/>
                  <a:pt x="4211" y="3206"/>
                </a:cubicBezTo>
                <a:cubicBezTo>
                  <a:pt x="4211" y="4178"/>
                  <a:pt x="5018" y="4969"/>
                  <a:pt x="6009" y="4969"/>
                </a:cubicBezTo>
                <a:close/>
                <a:moveTo>
                  <a:pt x="5333" y="2529"/>
                </a:moveTo>
                <a:cubicBezTo>
                  <a:pt x="5558" y="2508"/>
                  <a:pt x="5783" y="2498"/>
                  <a:pt x="6009" y="2498"/>
                </a:cubicBezTo>
                <a:cubicBezTo>
                  <a:pt x="6292" y="2498"/>
                  <a:pt x="6566" y="2510"/>
                  <a:pt x="6831" y="2534"/>
                </a:cubicBezTo>
                <a:lnTo>
                  <a:pt x="6823" y="2542"/>
                </a:lnTo>
                <a:cubicBezTo>
                  <a:pt x="6944" y="2674"/>
                  <a:pt x="7088" y="2897"/>
                  <a:pt x="7088" y="3206"/>
                </a:cubicBezTo>
                <a:cubicBezTo>
                  <a:pt x="7088" y="3772"/>
                  <a:pt x="6594" y="4250"/>
                  <a:pt x="6009" y="4250"/>
                </a:cubicBezTo>
                <a:cubicBezTo>
                  <a:pt x="5424" y="4250"/>
                  <a:pt x="4930" y="3772"/>
                  <a:pt x="4930" y="3206"/>
                </a:cubicBezTo>
                <a:cubicBezTo>
                  <a:pt x="4930" y="2900"/>
                  <a:pt x="5071" y="2681"/>
                  <a:pt x="5191" y="2548"/>
                </a:cubicBezTo>
                <a:cubicBezTo>
                  <a:pt x="5239" y="2542"/>
                  <a:pt x="5284" y="2534"/>
                  <a:pt x="5333" y="2529"/>
                </a:cubicBezTo>
                <a:close/>
                <a:moveTo>
                  <a:pt x="11192" y="5042"/>
                </a:moveTo>
                <a:cubicBezTo>
                  <a:pt x="10782" y="5904"/>
                  <a:pt x="9457" y="7909"/>
                  <a:pt x="6009" y="7909"/>
                </a:cubicBezTo>
                <a:cubicBezTo>
                  <a:pt x="2561" y="7909"/>
                  <a:pt x="1236" y="5905"/>
                  <a:pt x="827" y="5042"/>
                </a:cubicBezTo>
                <a:cubicBezTo>
                  <a:pt x="772" y="4929"/>
                  <a:pt x="790" y="4796"/>
                  <a:pt x="871" y="4703"/>
                </a:cubicBezTo>
                <a:cubicBezTo>
                  <a:pt x="1347" y="4160"/>
                  <a:pt x="1875" y="3728"/>
                  <a:pt x="2462" y="3390"/>
                </a:cubicBezTo>
                <a:cubicBezTo>
                  <a:pt x="2737" y="4995"/>
                  <a:pt x="4247" y="6438"/>
                  <a:pt x="6009" y="6438"/>
                </a:cubicBezTo>
                <a:cubicBezTo>
                  <a:pt x="7809" y="6438"/>
                  <a:pt x="9299" y="4983"/>
                  <a:pt x="9560" y="3370"/>
                </a:cubicBezTo>
                <a:cubicBezTo>
                  <a:pt x="10139" y="3711"/>
                  <a:pt x="10665" y="4152"/>
                  <a:pt x="11148" y="4703"/>
                </a:cubicBezTo>
                <a:cubicBezTo>
                  <a:pt x="11228" y="4795"/>
                  <a:pt x="11245" y="4928"/>
                  <a:pt x="11192" y="5042"/>
                </a:cubicBezTo>
                <a:close/>
                <a:moveTo>
                  <a:pt x="6009" y="719"/>
                </a:moveTo>
                <a:cubicBezTo>
                  <a:pt x="7599" y="719"/>
                  <a:pt x="9105" y="1178"/>
                  <a:pt x="10486" y="2083"/>
                </a:cubicBezTo>
                <a:lnTo>
                  <a:pt x="10880" y="1482"/>
                </a:lnTo>
                <a:cubicBezTo>
                  <a:pt x="9380" y="498"/>
                  <a:pt x="7741" y="0"/>
                  <a:pt x="6009" y="0"/>
                </a:cubicBezTo>
                <a:cubicBezTo>
                  <a:pt x="4277" y="0"/>
                  <a:pt x="2638" y="498"/>
                  <a:pt x="1138" y="1482"/>
                </a:cubicBezTo>
                <a:lnTo>
                  <a:pt x="1532" y="2083"/>
                </a:lnTo>
                <a:cubicBezTo>
                  <a:pt x="2913" y="1178"/>
                  <a:pt x="4419" y="719"/>
                  <a:pt x="6009" y="719"/>
                </a:cubicBezTo>
                <a:close/>
              </a:path>
            </a:pathLst>
          </a:custGeom>
          <a:solidFill>
            <a:srgbClr val="882D78"/>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37" name="文本框 58"/>
          <p:cNvSpPr txBox="1"/>
          <p:nvPr/>
        </p:nvSpPr>
        <p:spPr>
          <a:xfrm>
            <a:off x="1095230" y="4257979"/>
            <a:ext cx="4379875" cy="700448"/>
          </a:xfrm>
          <a:prstGeom prst="rect">
            <a:avLst/>
          </a:prstGeom>
          <a:noFill/>
        </p:spPr>
        <p:txBody>
          <a:bodyPr wrap="square" rtlCol="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艾沙康唑不延长</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2</a:t>
            </a:r>
            <a:endPar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伏立康唑</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QTc</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间期延长发生率</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38.2%</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5</a:t>
            </a:r>
            <a:endPar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sp>
        <p:nvSpPr>
          <p:cNvPr id="38" name="文本框 37"/>
          <p:cNvSpPr txBox="1"/>
          <p:nvPr/>
        </p:nvSpPr>
        <p:spPr>
          <a:xfrm>
            <a:off x="6443490" y="1243692"/>
            <a:ext cx="5111639" cy="700448"/>
          </a:xfrm>
          <a:prstGeom prst="rect">
            <a:avLst/>
          </a:prstGeom>
          <a:noFill/>
        </p:spPr>
        <p:txBody>
          <a:bodyPr wrap="square">
            <a:spAutoFit/>
          </a:bodyPr>
          <a:lstStyle/>
          <a:p>
            <a:pPr marL="228600" marR="0" lvl="0" indent="-22860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真实世界数据显示：艾沙康唑药物相关肝损伤（</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DILI</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发生率为</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1.63%</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显著低于伏立康唑</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9-10</a:t>
            </a:r>
            <a:endPar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grpSp>
        <p:nvGrpSpPr>
          <p:cNvPr id="39" name="组合 38"/>
          <p:cNvGrpSpPr/>
          <p:nvPr/>
        </p:nvGrpSpPr>
        <p:grpSpPr>
          <a:xfrm>
            <a:off x="6496665" y="2395317"/>
            <a:ext cx="4968738" cy="3796739"/>
            <a:chOff x="6454685" y="2999509"/>
            <a:chExt cx="4951833" cy="3106950"/>
          </a:xfrm>
        </p:grpSpPr>
        <p:graphicFrame>
          <p:nvGraphicFramePr>
            <p:cNvPr id="40" name="图表 39"/>
            <p:cNvGraphicFramePr/>
            <p:nvPr/>
          </p:nvGraphicFramePr>
          <p:xfrm>
            <a:off x="6680844" y="2999509"/>
            <a:ext cx="4725674" cy="3106950"/>
          </p:xfrm>
          <a:graphic>
            <a:graphicData uri="http://schemas.openxmlformats.org/drawingml/2006/chart">
              <c:chart xmlns:c="http://schemas.openxmlformats.org/drawingml/2006/chart" xmlns:r="http://schemas.openxmlformats.org/officeDocument/2006/relationships" r:id="rId1"/>
            </a:graphicData>
          </a:graphic>
        </p:graphicFrame>
        <p:sp>
          <p:nvSpPr>
            <p:cNvPr id="41" name="文本框 7"/>
            <p:cNvSpPr txBox="1"/>
            <p:nvPr/>
          </p:nvSpPr>
          <p:spPr>
            <a:xfrm rot="16200000">
              <a:off x="5221727" y="4293657"/>
              <a:ext cx="2772646" cy="30673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DILI</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发生率</a:t>
              </a:r>
              <a:endParaRPr kumimoji="0" lang="en-US" altLang="zh-CN" sz="1400" b="0" i="0" u="none" strike="noStrike" kern="1200" cap="none" spc="0" normalizeH="0" baseline="0" noProof="0" dirty="0">
                <a:ln>
                  <a:noFill/>
                </a:ln>
                <a:solidFill>
                  <a:srgbClr val="0000C9"/>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grpSp>
      <p:sp>
        <p:nvSpPr>
          <p:cNvPr id="42" name="文本框 58"/>
          <p:cNvSpPr txBox="1"/>
          <p:nvPr/>
        </p:nvSpPr>
        <p:spPr>
          <a:xfrm>
            <a:off x="1137598" y="5550516"/>
            <a:ext cx="4240419" cy="377283"/>
          </a:xfrm>
          <a:prstGeom prst="rect">
            <a:avLst/>
          </a:prstGeom>
          <a:noFill/>
        </p:spPr>
        <p:txBody>
          <a:bodyPr wrap="square" rtlCol="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艾沙康唑</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6</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3.8%</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伏立康唑</a:t>
            </a:r>
            <a:r>
              <a:rPr kumimoji="0" lang="en-US" altLang="zh-CN" sz="1400" b="0" i="0" u="none" strike="noStrike" kern="1200" cap="none" spc="0" normalizeH="0" baseline="3000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7</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75%</a:t>
            </a:r>
            <a:r>
              <a:rPr kumimoji="0" lang="zh-CN" altLang="en-US"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endParaRPr kumimoji="0" lang="en-US" altLang="zh-CN" sz="14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sp>
        <p:nvSpPr>
          <p:cNvPr id="43" name="文本框 42"/>
          <p:cNvSpPr txBox="1"/>
          <p:nvPr/>
        </p:nvSpPr>
        <p:spPr>
          <a:xfrm>
            <a:off x="201296" y="6377860"/>
            <a:ext cx="119907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1. Zhi-Xuan Zhou, et al. Front </a:t>
            </a:r>
            <a:r>
              <a:rPr kumimoji="0" lang="en-US" altLang="zh-CN" sz="9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Pharmacol</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2022;28(13):891336    2. </a:t>
            </a:r>
            <a:r>
              <a:rPr kumimoji="0" lang="zh-CN" altLang="en-US"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注射用硫酸艾沙康唑说明书</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2024</a:t>
            </a:r>
            <a:r>
              <a:rPr kumimoji="0" lang="zh-CN" altLang="en-US"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年</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03</a:t>
            </a:r>
            <a:r>
              <a:rPr kumimoji="0" lang="zh-CN" altLang="en-US"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月</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22</a:t>
            </a:r>
            <a:r>
              <a:rPr kumimoji="0" lang="zh-CN" altLang="en-US"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日    </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3.</a:t>
            </a:r>
            <a:r>
              <a:rPr kumimoji="0" lang="zh-CN" altLang="en-US"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注射用伏立康唑说明书</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2024</a:t>
            </a:r>
            <a:r>
              <a:rPr kumimoji="0" lang="zh-CN" altLang="en-US"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年</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06</a:t>
            </a:r>
            <a:r>
              <a:rPr kumimoji="0" lang="zh-CN" altLang="en-US"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月</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03</a:t>
            </a:r>
            <a:r>
              <a:rPr kumimoji="0" lang="zh-CN" altLang="en-US"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日  </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4.Oude </a:t>
            </a:r>
            <a:r>
              <a:rPr kumimoji="0" lang="en-US" altLang="zh-CN" sz="9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Lashof</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AM et al. </a:t>
            </a:r>
            <a:r>
              <a:rPr kumimoji="0" lang="en-US" altLang="zh-CN" sz="9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ntimicrob</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Agents </a:t>
            </a:r>
            <a:r>
              <a:rPr kumimoji="0" lang="en-US" altLang="zh-CN" sz="9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Chemother</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2012 Jun;56(6):3133-7.    5. Van </a:t>
            </a:r>
            <a:r>
              <a:rPr kumimoji="0" lang="en-US" altLang="zh-CN" sz="9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Matre</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et al. Ann Clin </a:t>
            </a:r>
            <a:r>
              <a:rPr kumimoji="0" lang="en-US" altLang="zh-CN" sz="9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Microbiol</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a:t>
            </a:r>
            <a:r>
              <a:rPr kumimoji="0" lang="en-US" altLang="zh-CN" sz="9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ntimicrob</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2019;1813.     6. Monforte  et </a:t>
            </a:r>
            <a:r>
              <a:rPr kumimoji="0" lang="en-US" altLang="zh-CN" sz="9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al.Microbiol</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a:t>
            </a:r>
            <a:r>
              <a:rPr kumimoji="0" lang="en-US" altLang="zh-CN" sz="9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Spectr</a:t>
            </a:r>
            <a:r>
              <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 2022 Feb 23;10(1):e0178421.    7. Wang X et al. Pharmacology. 2021;106(3-4):202-210.. </a:t>
            </a:r>
            <a:endParaRPr kumimoji="0" lang="en-US" altLang="zh-CN" sz="9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104775" y="113508"/>
            <a:ext cx="10515600" cy="606425"/>
          </a:xfrm>
        </p:spPr>
        <p:txBody>
          <a:bodyPr/>
          <a:lstStyle/>
          <a:p>
            <a:r>
              <a:rPr kumimoji="0" lang="zh-CN" altLang="en-US" sz="24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艾沙康唑单药治疗侵袭性曲霉病疗效相对更佳</a:t>
            </a:r>
            <a:endParaRPr lang="zh-CN" altLang="en-US" dirty="0"/>
          </a:p>
        </p:txBody>
      </p:sp>
      <p:grpSp>
        <p:nvGrpSpPr>
          <p:cNvPr id="5" name="组合 4"/>
          <p:cNvGrpSpPr/>
          <p:nvPr/>
        </p:nvGrpSpPr>
        <p:grpSpPr>
          <a:xfrm>
            <a:off x="256396" y="2289756"/>
            <a:ext cx="11633260" cy="4288016"/>
            <a:chOff x="313685" y="985235"/>
            <a:chExt cx="5216557" cy="4222016"/>
          </a:xfrm>
        </p:grpSpPr>
        <p:sp>
          <p:nvSpPr>
            <p:cNvPr id="6" name="矩形 5"/>
            <p:cNvSpPr/>
            <p:nvPr/>
          </p:nvSpPr>
          <p:spPr>
            <a:xfrm>
              <a:off x="313685" y="1169893"/>
              <a:ext cx="5216557" cy="3480880"/>
            </a:xfrm>
            <a:prstGeom prst="rect">
              <a:avLst/>
            </a:prstGeom>
            <a:gradFill>
              <a:gsLst>
                <a:gs pos="100000">
                  <a:sysClr val="window" lastClr="FFFFFF"/>
                </a:gs>
                <a:gs pos="29000">
                  <a:srgbClr val="F6EDF4">
                    <a:alpha val="50000"/>
                  </a:srgbClr>
                </a:gs>
              </a:gsLst>
              <a:lin ang="5400000" scaled="0"/>
            </a:gra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7" name="矩形 6"/>
            <p:cNvSpPr/>
            <p:nvPr/>
          </p:nvSpPr>
          <p:spPr>
            <a:xfrm>
              <a:off x="478051" y="985235"/>
              <a:ext cx="4925475" cy="3901013"/>
            </a:xfrm>
            <a:prstGeom prst="rect">
              <a:avLst/>
            </a:prstGeom>
            <a:gradFill>
              <a:gsLst>
                <a:gs pos="100000">
                  <a:sysClr val="window" lastClr="FFFFFF"/>
                </a:gs>
                <a:gs pos="41000">
                  <a:srgbClr val="F6EDF4"/>
                </a:gs>
              </a:gsLst>
              <a:lin ang="5400000" scaled="0"/>
            </a:gra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
          <p:nvSpPr>
            <p:cNvPr id="8" name="矩形 7"/>
            <p:cNvSpPr/>
            <p:nvPr/>
          </p:nvSpPr>
          <p:spPr>
            <a:xfrm>
              <a:off x="610583" y="1299149"/>
              <a:ext cx="4658655" cy="3908102"/>
            </a:xfrm>
            <a:prstGeom prst="rect">
              <a:avLst/>
            </a:prstGeom>
            <a:solidFill>
              <a:sysClr val="window" lastClr="FFFFFF"/>
            </a:solidFill>
            <a:ln w="9525" cap="flat" cmpd="sng" algn="ctr">
              <a:solidFill>
                <a:srgbClr val="A24A9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grpSp>
      <p:graphicFrame>
        <p:nvGraphicFramePr>
          <p:cNvPr id="9" name="图表 8"/>
          <p:cNvGraphicFramePr/>
          <p:nvPr/>
        </p:nvGraphicFramePr>
        <p:xfrm>
          <a:off x="854517" y="2749819"/>
          <a:ext cx="10515600" cy="3747416"/>
        </p:xfrm>
        <a:graphic>
          <a:graphicData uri="http://schemas.openxmlformats.org/drawingml/2006/chart">
            <c:chart xmlns:c="http://schemas.openxmlformats.org/drawingml/2006/chart" xmlns:r="http://schemas.openxmlformats.org/officeDocument/2006/relationships" r:id="rId1"/>
          </a:graphicData>
        </a:graphic>
      </p:graphicFrame>
      <p:grpSp>
        <p:nvGrpSpPr>
          <p:cNvPr id="10" name="组合 9"/>
          <p:cNvGrpSpPr/>
          <p:nvPr/>
        </p:nvGrpSpPr>
        <p:grpSpPr>
          <a:xfrm>
            <a:off x="297452" y="998186"/>
            <a:ext cx="11633260" cy="1238709"/>
            <a:chOff x="287338" y="1189952"/>
            <a:chExt cx="11160125" cy="1114861"/>
          </a:xfrm>
        </p:grpSpPr>
        <p:sp>
          <p:nvSpPr>
            <p:cNvPr id="11" name="矩形 10"/>
            <p:cNvSpPr/>
            <p:nvPr/>
          </p:nvSpPr>
          <p:spPr>
            <a:xfrm>
              <a:off x="287338" y="1189952"/>
              <a:ext cx="11160125" cy="1114861"/>
            </a:xfrm>
            <a:prstGeom prst="rect">
              <a:avLst/>
            </a:prstGeom>
            <a:solidFill>
              <a:sysClr val="window" lastClr="FFFFFF"/>
            </a:solidFill>
            <a:ln w="19050" cap="flat" cmpd="sng" algn="ctr">
              <a:noFill/>
              <a:prstDash val="solid"/>
              <a:miter lim="800000"/>
            </a:ln>
            <a:effectLst>
              <a:outerShdw blurRad="63500" algn="tl" rotWithShape="0">
                <a:srgbClr val="156082">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sp>
          <p:nvSpPr>
            <p:cNvPr id="12" name="文本框 11"/>
            <p:cNvSpPr txBox="1"/>
            <p:nvPr/>
          </p:nvSpPr>
          <p:spPr>
            <a:xfrm>
              <a:off x="1048009" y="1292501"/>
              <a:ext cx="10296554" cy="800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一项对</a:t>
              </a:r>
              <a:r>
                <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1997-2020</a:t>
              </a: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年间发表的</a:t>
              </a:r>
              <a:r>
                <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12</a:t>
              </a: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项研究（</a:t>
              </a:r>
              <a:r>
                <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5</a:t>
              </a: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项</a:t>
              </a:r>
              <a:r>
                <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RCT</a:t>
              </a: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研究、</a:t>
              </a:r>
              <a:r>
                <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7</a:t>
              </a: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项观察性研究）进行网状荟萃分析，共纳入</a:t>
              </a:r>
              <a:r>
                <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2438</a:t>
              </a: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例患者，共涉及</a:t>
              </a:r>
              <a:r>
                <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9</a:t>
              </a: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种抗真菌药物的</a:t>
              </a:r>
              <a:r>
                <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11</a:t>
              </a: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种治疗方案；结果发现：</a:t>
              </a:r>
              <a:endPar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初始单药治疗</a:t>
              </a:r>
              <a:r>
                <a:rPr kumimoji="0" lang="en-US" altLang="zh-CN"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IA</a:t>
              </a:r>
              <a:r>
                <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时，艾沙康唑表现出最优的临床结局，其临床应答率最高、患者病死率最低；其次为伏立康唑和泊沙康唑</a:t>
              </a:r>
              <a:endParaRPr kumimoji="0" lang="zh-CN" altLang="en-US" sz="14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pic>
          <p:nvPicPr>
            <p:cNvPr id="13" name="图形 3"/>
            <p:cNvPicPr>
              <a:picLocks noChangeAspect="1"/>
            </p:cNvPicPr>
            <p:nvPr/>
          </p:nvPicPr>
          <p:blipFill>
            <a:blip r:embed="rId2" cstate="screen">
              <a:extLst>
                <a:ext uri="{96DAC541-7B7A-43D3-8B79-37D633B846F1}">
                  <asvg:svgBlip xmlns:asvg="http://schemas.microsoft.com/office/drawing/2016/SVG/main" r:embed="rId3"/>
                </a:ext>
              </a:extLst>
            </a:blip>
            <a:stretch>
              <a:fillRect/>
            </a:stretch>
          </p:blipFill>
          <p:spPr>
            <a:xfrm>
              <a:off x="371395" y="1277829"/>
              <a:ext cx="573715" cy="557266"/>
            </a:xfrm>
            <a:prstGeom prst="rect">
              <a:avLst/>
            </a:prstGeom>
          </p:spPr>
        </p:pic>
      </p:grpSp>
      <p:sp>
        <p:nvSpPr>
          <p:cNvPr id="14" name="文本框 13"/>
          <p:cNvSpPr txBox="1"/>
          <p:nvPr/>
        </p:nvSpPr>
        <p:spPr>
          <a:xfrm>
            <a:off x="89260" y="6577772"/>
            <a:ext cx="1043488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o</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 Liu et al. BMC Infect Dis . 2024 Jun 12;24(1):581</a:t>
            </a:r>
            <a:endParaRPr kumimoji="0" lang="fr-FR"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4-11-15 </a:t>
            </a:r>
            <a:r>
              <a:rPr lang="en-US" b="1" dirty="0" err="1"/>
              <a:t>胸部CT</a:t>
            </a:r>
            <a:r>
              <a:rPr lang="zh-CN" altLang="en-US" b="1" dirty="0"/>
              <a:t>增强</a:t>
            </a:r>
            <a:r>
              <a:rPr lang="en-US" b="1" dirty="0"/>
              <a:t>+CTA</a:t>
            </a:r>
            <a:endParaRPr lang="zh-CN" altLang="en-US" dirty="0"/>
          </a:p>
        </p:txBody>
      </p:sp>
      <p:pic>
        <p:nvPicPr>
          <p:cNvPr id="1026" name="Picture 2"/>
          <p:cNvPicPr>
            <a:picLocks noGrp="1" noChangeAspect="1" noChangeArrowheads="1"/>
          </p:cNvPicPr>
          <p:nvPr>
            <p:ph idx="1"/>
          </p:nvPr>
        </p:nvPicPr>
        <p:blipFill>
          <a:blip r:embed="rId1" cstate="print"/>
          <a:srcRect/>
          <a:stretch>
            <a:fillRect/>
          </a:stretch>
        </p:blipFill>
        <p:spPr bwMode="auto">
          <a:xfrm>
            <a:off x="1386408" y="1212645"/>
            <a:ext cx="5812958" cy="1707124"/>
          </a:xfrm>
          <a:prstGeom prst="rect">
            <a:avLst/>
          </a:prstGeom>
          <a:noFill/>
          <a:ln w="9525">
            <a:noFill/>
            <a:miter lim="800000"/>
            <a:headEnd/>
            <a:tailEnd/>
          </a:ln>
          <a:effectLst/>
        </p:spPr>
      </p:pic>
      <p:pic>
        <p:nvPicPr>
          <p:cNvPr id="1027" name="Picture 3"/>
          <p:cNvPicPr>
            <a:picLocks noChangeAspect="1" noChangeArrowheads="1"/>
          </p:cNvPicPr>
          <p:nvPr/>
        </p:nvPicPr>
        <p:blipFill>
          <a:blip r:embed="rId2" cstate="print"/>
          <a:srcRect/>
          <a:stretch>
            <a:fillRect/>
          </a:stretch>
        </p:blipFill>
        <p:spPr bwMode="auto">
          <a:xfrm>
            <a:off x="1395484" y="2986657"/>
            <a:ext cx="5810250" cy="1558932"/>
          </a:xfrm>
          <a:prstGeom prst="rect">
            <a:avLst/>
          </a:prstGeom>
          <a:noFill/>
          <a:ln w="9525">
            <a:noFill/>
            <a:miter lim="800000"/>
            <a:headEnd/>
            <a:tailEnd/>
          </a:ln>
          <a:effectLst/>
        </p:spPr>
      </p:pic>
      <p:pic>
        <p:nvPicPr>
          <p:cNvPr id="6" name="Picture 2"/>
          <p:cNvPicPr>
            <a:picLocks noChangeAspect="1" noChangeArrowheads="1"/>
          </p:cNvPicPr>
          <p:nvPr/>
        </p:nvPicPr>
        <p:blipFill>
          <a:blip r:embed="rId3" cstate="print"/>
          <a:srcRect/>
          <a:stretch>
            <a:fillRect/>
          </a:stretch>
        </p:blipFill>
        <p:spPr bwMode="auto">
          <a:xfrm>
            <a:off x="1409132" y="4628396"/>
            <a:ext cx="5810250" cy="1726811"/>
          </a:xfrm>
          <a:prstGeom prst="rect">
            <a:avLst/>
          </a:prstGeom>
          <a:noFill/>
          <a:ln w="9525">
            <a:noFill/>
            <a:miter lim="800000"/>
            <a:headEnd/>
            <a:tailEnd/>
          </a:ln>
          <a:effectLst/>
        </p:spPr>
      </p:pic>
      <p:sp>
        <p:nvSpPr>
          <p:cNvPr id="7" name="矩形 6"/>
          <p:cNvSpPr/>
          <p:nvPr/>
        </p:nvSpPr>
        <p:spPr>
          <a:xfrm>
            <a:off x="7724633" y="1585436"/>
            <a:ext cx="3648217" cy="3693319"/>
          </a:xfrm>
          <a:prstGeom prst="rect">
            <a:avLst/>
          </a:prstGeom>
        </p:spPr>
        <p:txBody>
          <a:bodyPr wrap="square">
            <a:spAutoFit/>
          </a:bodyPr>
          <a:lstStyle/>
          <a:p>
            <a:r>
              <a:rPr lang="en-US" altLang="zh-CN" b="1" dirty="0" err="1"/>
              <a:t>左肺上叶团片影</a:t>
            </a:r>
            <a:r>
              <a:rPr lang="zh-CN" altLang="en-US" b="1" dirty="0"/>
              <a:t>（</a:t>
            </a:r>
            <a:r>
              <a:rPr lang="en-US" altLang="zh-CN" b="1" dirty="0"/>
              <a:t>95mm*43mm</a:t>
            </a:r>
            <a:r>
              <a:rPr lang="zh-CN" altLang="en-US" b="1" dirty="0"/>
              <a:t>）</a:t>
            </a:r>
            <a:r>
              <a:rPr lang="en-US" altLang="zh-CN" b="1" dirty="0"/>
              <a:t>，</a:t>
            </a:r>
            <a:r>
              <a:rPr lang="en-US" altLang="zh-CN" b="1" dirty="0" err="1"/>
              <a:t>考虑</a:t>
            </a:r>
            <a:r>
              <a:rPr lang="en-US" altLang="zh-CN" b="1" dirty="0" err="1">
                <a:solidFill>
                  <a:srgbClr val="0070C0"/>
                </a:solidFill>
              </a:rPr>
              <a:t>左上肺中央型肺癌</a:t>
            </a:r>
            <a:r>
              <a:rPr lang="en-US" altLang="zh-CN" b="1" dirty="0" err="1"/>
              <a:t>可能性大，并周围阻塞性炎症</a:t>
            </a:r>
            <a:r>
              <a:rPr lang="en-US" altLang="zh-CN" b="1" dirty="0"/>
              <a:t>。</a:t>
            </a:r>
            <a:br>
              <a:rPr lang="en-US" altLang="zh-CN" b="1" dirty="0"/>
            </a:br>
            <a:r>
              <a:rPr lang="en-US" altLang="zh-CN" b="1" dirty="0" err="1"/>
              <a:t>右肺中叶、双肺下叶多发斑片影，考虑炎症</a:t>
            </a:r>
            <a:r>
              <a:rPr lang="en-US" altLang="zh-CN" b="1" dirty="0"/>
              <a:t>。</a:t>
            </a:r>
            <a:br>
              <a:rPr lang="en-US" altLang="zh-CN" b="1" dirty="0"/>
            </a:br>
            <a:r>
              <a:rPr lang="en-US" altLang="zh-CN" b="1" dirty="0" err="1"/>
              <a:t>纵隔、左肺门多发肿大淋巴结，考虑转移瘤可能</a:t>
            </a:r>
            <a:r>
              <a:rPr lang="en-US" altLang="zh-CN" b="1" dirty="0"/>
              <a:t>。</a:t>
            </a:r>
            <a:endParaRPr lang="en-US" altLang="zh-CN" b="1" dirty="0"/>
          </a:p>
          <a:p>
            <a:endParaRPr lang="en-US" altLang="zh-CN" b="1" dirty="0"/>
          </a:p>
          <a:p>
            <a:r>
              <a:rPr lang="en-US" altLang="zh-CN" b="1" dirty="0" err="1"/>
              <a:t>胸部CTA</a:t>
            </a:r>
            <a:r>
              <a:rPr lang="zh-CN" altLang="en-US" b="1" dirty="0"/>
              <a:t>：</a:t>
            </a:r>
            <a:r>
              <a:rPr lang="en-US" altLang="zh-CN" b="1" dirty="0" err="1">
                <a:solidFill>
                  <a:srgbClr val="0070C0"/>
                </a:solidFill>
              </a:rPr>
              <a:t>左肺动脉主干及左上肺动脉、左下肺动脉为肿块包绕</a:t>
            </a:r>
            <a:r>
              <a:rPr lang="en-US" altLang="zh-CN" b="1" dirty="0" err="1"/>
              <a:t>，左上肺动脉管腔变窄，尚通畅，内未见充盈缺损</a:t>
            </a:r>
            <a:r>
              <a:rPr lang="en-US" altLang="zh-CN" b="1" dirty="0"/>
              <a:t>。</a:t>
            </a:r>
            <a:endParaRPr lang="en-US" altLang="zh-CN" b="1" dirty="0"/>
          </a:p>
          <a:p>
            <a:endParaRPr lang="zh-CN" altLang="en-US" dirty="0"/>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nvGraphicFramePr>
        <p:xfrm>
          <a:off x="450915" y="949203"/>
          <a:ext cx="10983898" cy="4536693"/>
        </p:xfrm>
        <a:graphic>
          <a:graphicData uri="http://schemas.openxmlformats.org/drawingml/2006/table">
            <a:tbl>
              <a:tblPr firstRow="1" bandRow="1"/>
              <a:tblGrid>
                <a:gridCol w="5747754"/>
                <a:gridCol w="3205856"/>
                <a:gridCol w="2030288"/>
              </a:tblGrid>
              <a:tr h="364833">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rPr>
                        <a:t>侵袭性曲霉病</a:t>
                      </a:r>
                      <a:r>
                        <a:rPr lang="en-US" altLang="zh-CN"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rPr>
                        <a:t> </a:t>
                      </a:r>
                      <a:endParaRPr lang="en-US" altLang="zh-CN"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endParaRPr>
                    </a:p>
                  </a:txBody>
                  <a:tcPr anchor="ctr">
                    <a:lnL>
                      <a:noFill/>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E4294"/>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rPr>
                        <a:t>VOR</a:t>
                      </a:r>
                      <a:endPar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E4294"/>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altLang="zh-CN"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rPr>
                        <a:t>ISA</a:t>
                      </a:r>
                      <a:endParaRPr lang="zh-CN" altLang="en-US" sz="1400" b="1" dirty="0">
                        <a:solidFill>
                          <a:schemeClr val="bg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E4294"/>
                    </a:solidFill>
                  </a:tcPr>
                </a:tc>
              </a:tr>
              <a:tr h="364833">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50000"/>
                        </a:lnSpc>
                        <a:spcBef>
                          <a:spcPts val="0"/>
                        </a:spcBef>
                        <a:spcAft>
                          <a:spcPts val="0"/>
                        </a:spcAft>
                        <a:buNone/>
                      </a:pPr>
                      <a:r>
                        <a:rPr lang="en-US" sz="1400" spc="6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2016年IDSA侵袭性曲霉病临床实践指南</a:t>
                      </a:r>
                      <a:r>
                        <a:rPr lang="en-US" sz="1400" spc="6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1</a:t>
                      </a:r>
                      <a:endParaRPr lang="en-US" sz="1400" b="0" spc="6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rtl="0" eaLnBrk="1" latinLnBrk="0" hangingPunct="1">
                        <a:lnSpc>
                          <a:spcPct val="150000"/>
                        </a:lnSpc>
                        <a:buNone/>
                      </a:pPr>
                      <a:r>
                        <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一线</a:t>
                      </a:r>
                      <a:endPar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zh-CN" altLang="en-US" sz="1400" b="1" dirty="0">
                          <a:solidFill>
                            <a:srgbClr val="882D78"/>
                          </a:solidFill>
                          <a:latin typeface="Times New Roman" panose="02020603050405020304" pitchFamily="18" charset="0"/>
                          <a:ea typeface="微软雅黑" panose="020B0503020204020204" charset="-122"/>
                          <a:cs typeface="Times New Roman" panose="02020603050405020304" pitchFamily="18" charset="0"/>
                          <a:sym typeface="+mn-ea"/>
                        </a:rPr>
                        <a:t>一线替代治疗</a:t>
                      </a:r>
                      <a:endParaRPr lang="zh-CN" altLang="en-US" sz="1400" b="1" dirty="0">
                        <a:solidFill>
                          <a:srgbClr val="882D78"/>
                        </a:solidFill>
                        <a:latin typeface="Times New Roman" panose="02020603050405020304" pitchFamily="18" charset="0"/>
                        <a:ea typeface="微软雅黑" panose="020B0503020204020204" charset="-122"/>
                        <a:cs typeface="Times New Roman" panose="02020603050405020304" pitchFamily="18" charset="0"/>
                        <a:sym typeface="+mn-ea"/>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19090">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50000"/>
                        </a:lnSpc>
                        <a:spcBef>
                          <a:spcPts val="0"/>
                        </a:spcBef>
                        <a:spcAft>
                          <a:spcPts val="0"/>
                        </a:spcAft>
                        <a:buNone/>
                      </a:pPr>
                      <a:r>
                        <a:rPr lang="en-US" sz="1400" spc="6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2018年ESCMID-ECMM-ERS曲霉病管理指南</a:t>
                      </a:r>
                      <a:r>
                        <a:rPr lang="en-US" sz="1400" spc="6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2</a:t>
                      </a:r>
                      <a:endParaRPr lang="en-US" sz="1400" b="0" spc="6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rtl="0" eaLnBrk="1" latinLnBrk="0" hangingPunct="1">
                        <a:lnSpc>
                          <a:spcPct val="150000"/>
                        </a:lnSpc>
                        <a:buNone/>
                      </a:pPr>
                      <a:r>
                        <a:rPr 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A-I</a:t>
                      </a:r>
                      <a:endParaRPr 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en-US" sz="1400" b="1" spc="60" dirty="0">
                          <a:solidFill>
                            <a:srgbClr val="882D78"/>
                          </a:solidFill>
                          <a:latin typeface="Times New Roman" panose="02020603050405020304" pitchFamily="18" charset="0"/>
                          <a:ea typeface="微软雅黑" panose="020B0503020204020204" charset="-122"/>
                          <a:cs typeface="Times New Roman" panose="02020603050405020304" pitchFamily="18" charset="0"/>
                          <a:sym typeface="+mn-ea"/>
                        </a:rPr>
                        <a:t>A-I</a:t>
                      </a:r>
                      <a:endParaRPr lang="en-US" altLang="zh-CN" sz="1400" b="1" spc="60" dirty="0">
                        <a:solidFill>
                          <a:srgbClr val="882D78"/>
                        </a:solidFill>
                        <a:latin typeface="Times New Roman" panose="02020603050405020304" pitchFamily="18" charset="0"/>
                        <a:ea typeface="微软雅黑" panose="020B0503020204020204" charset="-122"/>
                        <a:cs typeface="Times New Roman" panose="02020603050405020304" pitchFamily="18" charset="0"/>
                        <a:sym typeface="+mn-ea"/>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19226">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a:lnSpc>
                          <a:spcPct val="150000"/>
                        </a:lnSpc>
                        <a:spcBef>
                          <a:spcPts val="0"/>
                        </a:spcBef>
                        <a:spcAft>
                          <a:spcPts val="0"/>
                        </a:spcAft>
                        <a:buNone/>
                      </a:pPr>
                      <a:r>
                        <a:rPr lang="en-US" sz="1400" b="0" spc="60" dirty="0">
                          <a:solidFill>
                            <a:schemeClr val="tx1"/>
                          </a:solidFill>
                          <a:latin typeface="Times New Roman" panose="02020603050405020304" pitchFamily="18" charset="0"/>
                          <a:ea typeface="微软雅黑" panose="020B0503020204020204" charset="-122"/>
                          <a:cs typeface="Times New Roman" panose="02020603050405020304" pitchFamily="18" charset="0"/>
                        </a:rPr>
                        <a:t>2020</a:t>
                      </a:r>
                      <a:r>
                        <a:rPr lang="zh-CN" altLang="en-US" sz="1400" b="0" spc="60" dirty="0">
                          <a:solidFill>
                            <a:schemeClr val="tx1"/>
                          </a:solidFill>
                          <a:latin typeface="Times New Roman" panose="02020603050405020304" pitchFamily="18" charset="0"/>
                          <a:ea typeface="微软雅黑" panose="020B0503020204020204" charset="-122"/>
                          <a:cs typeface="Times New Roman" panose="02020603050405020304" pitchFamily="18" charset="0"/>
                        </a:rPr>
                        <a:t>年</a:t>
                      </a:r>
                      <a:r>
                        <a:rPr lang="en-US" altLang="zh-CN" sz="1400" b="0" spc="60" dirty="0">
                          <a:solidFill>
                            <a:schemeClr val="tx1"/>
                          </a:solidFill>
                          <a:latin typeface="Times New Roman" panose="02020603050405020304" pitchFamily="18" charset="0"/>
                          <a:ea typeface="微软雅黑" panose="020B0503020204020204" charset="-122"/>
                          <a:cs typeface="Times New Roman" panose="02020603050405020304" pitchFamily="18" charset="0"/>
                        </a:rPr>
                        <a:t>ECMM/ISHAM</a:t>
                      </a:r>
                      <a:r>
                        <a:rPr lang="zh-CN" altLang="en-US" sz="1400" b="0" spc="60" dirty="0">
                          <a:solidFill>
                            <a:schemeClr val="tx1"/>
                          </a:solidFill>
                          <a:latin typeface="Times New Roman" panose="02020603050405020304" pitchFamily="18" charset="0"/>
                          <a:ea typeface="微软雅黑" panose="020B0503020204020204" charset="-122"/>
                          <a:cs typeface="Times New Roman" panose="02020603050405020304" pitchFamily="18" charset="0"/>
                        </a:rPr>
                        <a:t>： </a:t>
                      </a:r>
                      <a:r>
                        <a:rPr lang="en-US" altLang="zh-CN" sz="1400" b="0" spc="60" dirty="0">
                          <a:solidFill>
                            <a:schemeClr val="tx1"/>
                          </a:solidFill>
                          <a:latin typeface="Times New Roman" panose="02020603050405020304" pitchFamily="18" charset="0"/>
                          <a:ea typeface="微软雅黑" panose="020B0503020204020204" charset="-122"/>
                          <a:cs typeface="Times New Roman" panose="02020603050405020304" pitchFamily="18" charset="0"/>
                        </a:rPr>
                        <a:t>COVID-19</a:t>
                      </a:r>
                      <a:r>
                        <a:rPr lang="zh-CN" altLang="en-US" sz="1400" b="0" spc="60" dirty="0">
                          <a:solidFill>
                            <a:schemeClr val="tx1"/>
                          </a:solidFill>
                          <a:latin typeface="Times New Roman" panose="02020603050405020304" pitchFamily="18" charset="0"/>
                          <a:ea typeface="微软雅黑" panose="020B0503020204020204" charset="-122"/>
                          <a:cs typeface="Times New Roman" panose="02020603050405020304" pitchFamily="18" charset="0"/>
                        </a:rPr>
                        <a:t>相关肺曲霉病定义及治疗共识</a:t>
                      </a:r>
                      <a:r>
                        <a:rPr lang="en-US" altLang="zh-CN" sz="1400" b="0" spc="6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rPr>
                        <a:t>3</a:t>
                      </a:r>
                      <a:endParaRPr lang="en-US" sz="1400" b="0" spc="6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rtl="0" eaLnBrk="1" latinLnBrk="0" hangingPunct="1">
                        <a:lnSpc>
                          <a:spcPct val="150000"/>
                        </a:lnSpc>
                        <a:buNone/>
                      </a:pPr>
                      <a:r>
                        <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一线</a:t>
                      </a:r>
                      <a:endPar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defPPr>
                        <a:defRPr lang="zh-CN">
                          <a:solidFill>
                            <a:schemeClr val="tx1"/>
                          </a:solidFill>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None/>
                      </a:pPr>
                      <a:r>
                        <a:rPr lang="zh-CN" altLang="en-US" sz="1400" b="1" dirty="0">
                          <a:solidFill>
                            <a:srgbClr val="882D78"/>
                          </a:solidFill>
                          <a:latin typeface="Times New Roman" panose="02020603050405020304" pitchFamily="18" charset="0"/>
                          <a:ea typeface="微软雅黑" panose="020B0503020204020204" charset="-122"/>
                          <a:cs typeface="Times New Roman" panose="02020603050405020304" pitchFamily="18" charset="0"/>
                        </a:rPr>
                        <a:t>一线</a:t>
                      </a:r>
                      <a:endParaRPr lang="zh-CN" altLang="en-US" sz="1400" b="1" dirty="0">
                        <a:solidFill>
                          <a:srgbClr val="882D78"/>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654032">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indent="0" algn="l">
                        <a:lnSpc>
                          <a:spcPct val="150000"/>
                        </a:lnSpc>
                        <a:spcBef>
                          <a:spcPts val="0"/>
                        </a:spcBef>
                        <a:spcAft>
                          <a:spcPts val="0"/>
                        </a:spcAft>
                        <a:buNone/>
                      </a:pPr>
                      <a:r>
                        <a:rPr lang="en-US"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rPr>
                        <a:t>2022</a:t>
                      </a:r>
                      <a:r>
                        <a:rPr lang="zh-CN" altLang="en-US"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rPr>
                        <a:t>年重症肝病合并侵袭性真菌感染诊治专家共识</a:t>
                      </a:r>
                      <a:r>
                        <a:rPr lang="en-US" altLang="zh-CN" sz="1400" b="0" spc="6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rPr>
                        <a:t>4</a:t>
                      </a:r>
                      <a:endParaRPr lang="en-US"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marL="0" algn="ctr" defTabSz="914400" rtl="0" eaLnBrk="1" latinLnBrk="0" hangingPunct="1">
                        <a:lnSpc>
                          <a:spcPct val="150000"/>
                        </a:lnSpc>
                        <a:buNone/>
                      </a:pPr>
                      <a:r>
                        <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一线</a:t>
                      </a:r>
                      <a:endParaRPr lang="en-US" altLang="zh-CN"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p>
                      <a:pPr marL="0" algn="ctr" defTabSz="914400" rtl="0" eaLnBrk="1" latinLnBrk="0" hangingPunct="1">
                        <a:lnSpc>
                          <a:spcPct val="150000"/>
                        </a:lnSpc>
                        <a:buNone/>
                      </a:pPr>
                      <a:r>
                        <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a:t>
                      </a:r>
                      <a:r>
                        <a:rPr lang="en-US" altLang="zh-CN"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Child-Pugh A</a:t>
                      </a:r>
                      <a:r>
                        <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级或</a:t>
                      </a:r>
                      <a:r>
                        <a:rPr lang="en-US" altLang="zh-CN"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B</a:t>
                      </a:r>
                      <a:r>
                        <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级）</a:t>
                      </a:r>
                      <a:endPar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algn="ctr">
                        <a:lnSpc>
                          <a:spcPct val="150000"/>
                        </a:lnSpc>
                        <a:buNone/>
                      </a:pPr>
                      <a:r>
                        <a:rPr lang="zh-CN" altLang="en-US" sz="1400" b="1" dirty="0">
                          <a:solidFill>
                            <a:srgbClr val="882D78"/>
                          </a:solidFill>
                          <a:latin typeface="Times New Roman" panose="02020603050405020304" pitchFamily="18" charset="0"/>
                          <a:ea typeface="微软雅黑" panose="020B0503020204020204" charset="-122"/>
                          <a:cs typeface="Times New Roman" panose="02020603050405020304" pitchFamily="18" charset="0"/>
                        </a:rPr>
                        <a:t>一线</a:t>
                      </a:r>
                      <a:endParaRPr lang="zh-CN" altLang="en-US" sz="1400" b="1" dirty="0">
                        <a:solidFill>
                          <a:srgbClr val="882D78"/>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400374">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indent="0" algn="l">
                        <a:lnSpc>
                          <a:spcPct val="150000"/>
                        </a:lnSpc>
                        <a:spcBef>
                          <a:spcPts val="0"/>
                        </a:spcBef>
                        <a:spcAft>
                          <a:spcPts val="0"/>
                        </a:spcAft>
                        <a:buNone/>
                      </a:pPr>
                      <a:r>
                        <a:rPr lang="en-US" altLang="zh-CN"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rPr>
                        <a:t>2023</a:t>
                      </a:r>
                      <a:r>
                        <a:rPr lang="zh-CN" altLang="en-US"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rPr>
                        <a:t>年艾沙康唑临床应用专家共识</a:t>
                      </a:r>
                      <a:r>
                        <a:rPr lang="en-US" altLang="zh-CN" sz="1400" b="0" spc="6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rPr>
                        <a:t>5</a:t>
                      </a:r>
                      <a:endParaRPr lang="en-US"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lang="zh-CN" altLang="en-US" sz="1400" kern="1200" noProof="0" dirty="0">
                          <a:solidFill>
                            <a:schemeClr val="tx1"/>
                          </a:solidFill>
                          <a:latin typeface="Times New Roman" panose="02020603050405020304" pitchFamily="18" charset="0"/>
                          <a:ea typeface="微软雅黑" panose="020B0503020204020204" charset="-122"/>
                          <a:cs typeface="Times New Roman" panose="02020603050405020304" pitchFamily="18" charset="0"/>
                        </a:rPr>
                        <a:t>一线</a:t>
                      </a:r>
                      <a:endParaRPr lang="en-US" altLang="zh-CN" sz="1400" kern="1200" noProof="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algn="ctr">
                        <a:lnSpc>
                          <a:spcPct val="150000"/>
                        </a:lnSpc>
                        <a:buNone/>
                      </a:pPr>
                      <a:r>
                        <a:rPr lang="zh-CN" altLang="en-US" sz="1400" b="1" baseline="0" dirty="0">
                          <a:solidFill>
                            <a:srgbClr val="882D78"/>
                          </a:solidFill>
                          <a:latin typeface="Times New Roman" panose="02020603050405020304" pitchFamily="18" charset="0"/>
                          <a:ea typeface="微软雅黑" panose="020B0503020204020204" charset="-122"/>
                          <a:cs typeface="Times New Roman" panose="02020603050405020304" pitchFamily="18" charset="0"/>
                        </a:rPr>
                        <a:t>一线</a:t>
                      </a:r>
                      <a:endParaRPr lang="zh-CN" altLang="en-US" sz="1400" b="1" baseline="0" dirty="0">
                        <a:solidFill>
                          <a:srgbClr val="882D78"/>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54032">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indent="0" algn="l">
                        <a:lnSpc>
                          <a:spcPct val="150000"/>
                        </a:lnSpc>
                        <a:spcBef>
                          <a:spcPts val="0"/>
                        </a:spcBef>
                        <a:spcAft>
                          <a:spcPts val="0"/>
                        </a:spcAft>
                        <a:buNone/>
                      </a:pPr>
                      <a:r>
                        <a:rPr lang="en-US" altLang="zh-CN"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rPr>
                        <a:t>2024</a:t>
                      </a:r>
                      <a:r>
                        <a:rPr lang="zh-CN" altLang="en-US"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rPr>
                        <a:t>年重症新型冠状病毒感染合并侵袭性肺曲霉病和肺毛霉病诊治专家共识</a:t>
                      </a:r>
                      <a:r>
                        <a:rPr lang="en-US" altLang="zh-CN" sz="1400" b="0" spc="6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rPr>
                        <a:t>6</a:t>
                      </a:r>
                      <a:endParaRPr lang="en-US" altLang="zh-CN"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marL="0" algn="ctr" defTabSz="914400" rtl="0" eaLnBrk="1" latinLnBrk="0" hangingPunct="1">
                        <a:lnSpc>
                          <a:spcPct val="150000"/>
                        </a:lnSpc>
                        <a:buNone/>
                      </a:pPr>
                      <a:r>
                        <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初始首选</a:t>
                      </a:r>
                      <a:endPar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algn="ctr">
                        <a:lnSpc>
                          <a:spcPct val="150000"/>
                        </a:lnSpc>
                        <a:buNone/>
                      </a:pPr>
                      <a:r>
                        <a:rPr lang="zh-CN" altLang="en-US" sz="1400" b="1" baseline="0" dirty="0">
                          <a:solidFill>
                            <a:srgbClr val="882D78"/>
                          </a:solidFill>
                          <a:latin typeface="Times New Roman" panose="02020603050405020304" pitchFamily="18" charset="0"/>
                          <a:ea typeface="微软雅黑" panose="020B0503020204020204" charset="-122"/>
                          <a:cs typeface="Times New Roman" panose="02020603050405020304" pitchFamily="18" charset="0"/>
                        </a:rPr>
                        <a:t>初始首选</a:t>
                      </a:r>
                      <a:endParaRPr lang="zh-CN" altLang="en-US" sz="1400" b="1" baseline="0" dirty="0">
                        <a:solidFill>
                          <a:srgbClr val="882D78"/>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600897">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indent="0" algn="l">
                        <a:lnSpc>
                          <a:spcPct val="150000"/>
                        </a:lnSpc>
                        <a:spcBef>
                          <a:spcPts val="0"/>
                        </a:spcBef>
                        <a:spcAft>
                          <a:spcPts val="0"/>
                        </a:spcAft>
                        <a:buNone/>
                      </a:pPr>
                      <a:r>
                        <a:rPr lang="en-US" altLang="zh-CN"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rPr>
                        <a:t>2024</a:t>
                      </a:r>
                      <a:r>
                        <a:rPr lang="zh-CN" altLang="en-US" sz="1400" b="0" spc="60" baseline="0" dirty="0">
                          <a:solidFill>
                            <a:schemeClr val="tx1"/>
                          </a:solidFill>
                          <a:latin typeface="Times New Roman" panose="02020603050405020304" pitchFamily="18" charset="0"/>
                          <a:ea typeface="微软雅黑" panose="020B0503020204020204" charset="-122"/>
                          <a:cs typeface="Times New Roman" panose="02020603050405020304" pitchFamily="18" charset="0"/>
                        </a:rPr>
                        <a:t>年慢性阻塞性肺疾病伴肺曲霉病诊治和管理专家共识</a:t>
                      </a:r>
                      <a:r>
                        <a:rPr lang="en-US" altLang="zh-CN" sz="1400" b="0" spc="6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rPr>
                        <a:t>7</a:t>
                      </a:r>
                      <a:endParaRPr lang="en-US" sz="1400" b="0" spc="60" baseline="3000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marL="0" algn="ctr" defTabSz="914400" rtl="0" eaLnBrk="1" latinLnBrk="0" hangingPunct="1">
                        <a:lnSpc>
                          <a:spcPct val="150000"/>
                        </a:lnSpc>
                        <a:buNone/>
                      </a:pPr>
                      <a:r>
                        <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rPr>
                        <a:t>起始首选</a:t>
                      </a:r>
                      <a:endParaRPr lang="zh-CN" altLang="en-US" sz="1400" kern="1200" dirty="0">
                        <a:solidFill>
                          <a:schemeClr val="tx1"/>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等线" panose="02010600030101010101" charset="-122"/>
                        </a:defRPr>
                      </a:lvl1pPr>
                      <a:lvl2pPr marL="457200" algn="l" defTabSz="914400" rtl="0" eaLnBrk="1" latinLnBrk="0" hangingPunct="1">
                        <a:defRPr sz="1800" kern="1200">
                          <a:solidFill>
                            <a:schemeClr val="tx1"/>
                          </a:solidFill>
                          <a:latin typeface="等线" panose="02010600030101010101" charset="-122"/>
                        </a:defRPr>
                      </a:lvl2pPr>
                      <a:lvl3pPr marL="914400" algn="l" defTabSz="914400" rtl="0" eaLnBrk="1" latinLnBrk="0" hangingPunct="1">
                        <a:defRPr sz="1800" kern="1200">
                          <a:solidFill>
                            <a:schemeClr val="tx1"/>
                          </a:solidFill>
                          <a:latin typeface="等线" panose="02010600030101010101" charset="-122"/>
                        </a:defRPr>
                      </a:lvl3pPr>
                      <a:lvl4pPr marL="1371600" algn="l" defTabSz="914400" rtl="0" eaLnBrk="1" latinLnBrk="0" hangingPunct="1">
                        <a:defRPr sz="1800" kern="1200">
                          <a:solidFill>
                            <a:schemeClr val="tx1"/>
                          </a:solidFill>
                          <a:latin typeface="等线" panose="02010600030101010101" charset="-122"/>
                        </a:defRPr>
                      </a:lvl4pPr>
                      <a:lvl5pPr marL="1828800" algn="l" defTabSz="914400" rtl="0" eaLnBrk="1" latinLnBrk="0" hangingPunct="1">
                        <a:defRPr sz="1800" kern="1200">
                          <a:solidFill>
                            <a:schemeClr val="tx1"/>
                          </a:solidFill>
                          <a:latin typeface="等线" panose="02010600030101010101" charset="-122"/>
                        </a:defRPr>
                      </a:lvl5pPr>
                      <a:lvl6pPr marL="2286000" algn="l" defTabSz="914400" rtl="0" eaLnBrk="1" latinLnBrk="0" hangingPunct="1">
                        <a:defRPr sz="1800" kern="1200">
                          <a:solidFill>
                            <a:schemeClr val="tx1"/>
                          </a:solidFill>
                          <a:latin typeface="等线" panose="02010600030101010101" charset="-122"/>
                        </a:defRPr>
                      </a:lvl6pPr>
                      <a:lvl7pPr marL="2743200" algn="l" defTabSz="914400" rtl="0" eaLnBrk="1" latinLnBrk="0" hangingPunct="1">
                        <a:defRPr sz="1800" kern="1200">
                          <a:solidFill>
                            <a:schemeClr val="tx1"/>
                          </a:solidFill>
                          <a:latin typeface="等线" panose="02010600030101010101" charset="-122"/>
                        </a:defRPr>
                      </a:lvl7pPr>
                      <a:lvl8pPr marL="3200400" algn="l" defTabSz="914400" rtl="0" eaLnBrk="1" latinLnBrk="0" hangingPunct="1">
                        <a:defRPr sz="1800" kern="1200">
                          <a:solidFill>
                            <a:schemeClr val="tx1"/>
                          </a:solidFill>
                          <a:latin typeface="等线" panose="02010600030101010101" charset="-122"/>
                        </a:defRPr>
                      </a:lvl8pPr>
                      <a:lvl9pPr marL="3657600" algn="l" defTabSz="914400" rtl="0" eaLnBrk="1" latinLnBrk="0" hangingPunct="1">
                        <a:defRPr sz="1800" kern="1200">
                          <a:solidFill>
                            <a:schemeClr val="tx1"/>
                          </a:solidFill>
                          <a:latin typeface="等线" panose="02010600030101010101" charset="-122"/>
                        </a:defRPr>
                      </a:lvl9pPr>
                    </a:lstStyle>
                    <a:p>
                      <a:pPr algn="ctr">
                        <a:lnSpc>
                          <a:spcPct val="150000"/>
                        </a:lnSpc>
                        <a:buNone/>
                      </a:pPr>
                      <a:r>
                        <a:rPr lang="zh-CN" altLang="en-US" sz="1400" b="1" baseline="0" dirty="0">
                          <a:solidFill>
                            <a:srgbClr val="882D78"/>
                          </a:solidFill>
                          <a:latin typeface="Times New Roman" panose="02020603050405020304" pitchFamily="18" charset="0"/>
                          <a:ea typeface="微软雅黑" panose="020B0503020204020204" charset="-122"/>
                          <a:cs typeface="Times New Roman" panose="02020603050405020304" pitchFamily="18" charset="0"/>
                        </a:rPr>
                        <a:t>起始首选</a:t>
                      </a:r>
                      <a:endParaRPr lang="zh-CN" altLang="en-US" sz="1400" b="1" baseline="0" dirty="0">
                        <a:solidFill>
                          <a:srgbClr val="882D78"/>
                        </a:solidFill>
                        <a:latin typeface="Times New Roman" panose="02020603050405020304" pitchFamily="18" charset="0"/>
                        <a:ea typeface="微软雅黑" panose="020B0503020204020204" charset="-122"/>
                        <a:cs typeface="Times New Roman" panose="02020603050405020304" pitchFamily="18"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 name="标题 5"/>
          <p:cNvSpPr>
            <a:spLocks noGrp="1"/>
          </p:cNvSpPr>
          <p:nvPr>
            <p:ph type="title"/>
          </p:nvPr>
        </p:nvSpPr>
        <p:spPr>
          <a:xfrm>
            <a:off x="104775" y="113508"/>
            <a:ext cx="10515600" cy="606425"/>
          </a:xfrm>
        </p:spPr>
        <p:txBody>
          <a:bodyPr/>
          <a:lstStyle/>
          <a:p>
            <a:r>
              <a:rPr kumimoji="0" lang="zh-CN" altLang="en-US" sz="24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艾沙康唑是治疗</a:t>
            </a:r>
            <a:r>
              <a:rPr kumimoji="0" lang="en-US" altLang="zh-CN" sz="24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IA</a:t>
            </a:r>
            <a:r>
              <a:rPr kumimoji="0" lang="zh-CN" altLang="en-US" sz="24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t>的一线选择</a:t>
            </a:r>
            <a:endParaRPr lang="zh-CN" altLang="en-US" dirty="0"/>
          </a:p>
        </p:txBody>
      </p:sp>
      <p:sp>
        <p:nvSpPr>
          <p:cNvPr id="6" name="文本框 5"/>
          <p:cNvSpPr txBox="1"/>
          <p:nvPr/>
        </p:nvSpPr>
        <p:spPr>
          <a:xfrm>
            <a:off x="296591" y="5726912"/>
            <a:ext cx="10400514"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1 Patterson TF et al. Clinical Infectious Diseases® 2016;63(4):e1–60     2. Ullmann AJ et al. Clinical Microbiology and Infection 24 (2018) e1ee38      3. Koehler P  et </a:t>
            </a:r>
            <a:r>
              <a:rPr kumimoji="0" lang="en-US" altLang="zh-CN" sz="1000" b="0" i="0" u="none" strike="noStrike" kern="1200" cap="none" spc="0" normalizeH="0" baseline="0" noProof="0" dirty="0" err="1">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l..Lancet</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 Infect Dis 2021; 21: e149–62    4. </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胡瑾华等</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中华肝脏病杂志，</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2022,30</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2</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159-168       5.</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中华医学会血液学分会抗感染学组</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临床血液学杂志</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2023,36(5):295-302.   6.</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中国医师协会呼吸医师分会危重症学组</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中华结核和呼吸杂志</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 2024.47(1) : 10-23.      7.</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中华医学会呼吸病学分会</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 </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慢性阻塞性肺疾病伴肺曲霉病诊治和管理专家共识 </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J] . </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中华结核和呼吸杂志</a:t>
            </a:r>
            <a:r>
              <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rPr>
              <a:t>, 2024, 47(7) : 604-622</a:t>
            </a:r>
            <a:endParaRPr kumimoji="0" lang="en-US" altLang="zh-CN" sz="1000" b="0"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sym typeface="微软雅黑" panose="020B0503020204020204" charset="-122"/>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侵袭性曲霉病治疗</a:t>
            </a:r>
            <a:endParaRPr lang="zh-CN" altLang="en-US" dirty="0"/>
          </a:p>
        </p:txBody>
      </p:sp>
      <p:sp>
        <p:nvSpPr>
          <p:cNvPr id="3" name="内容占位符 2"/>
          <p:cNvSpPr>
            <a:spLocks noGrp="1"/>
          </p:cNvSpPr>
          <p:nvPr>
            <p:ph idx="1"/>
          </p:nvPr>
        </p:nvSpPr>
        <p:spPr>
          <a:xfrm>
            <a:off x="1633803" y="1416970"/>
            <a:ext cx="9643797" cy="3111488"/>
          </a:xfrm>
        </p:spPr>
        <p:txBody>
          <a:bodyPr/>
          <a:lstStyle/>
          <a:p>
            <a:pPr marL="0" indent="0">
              <a:buNone/>
            </a:pPr>
            <a:r>
              <a:rPr lang="zh-CN" altLang="en-US" dirty="0"/>
              <a:t>   负荷：艾沙康唑注射液</a:t>
            </a:r>
            <a:r>
              <a:rPr lang="en-US" altLang="zh-CN" dirty="0"/>
              <a:t>200mg q8h 2d</a:t>
            </a:r>
            <a:endParaRPr lang="en-US" altLang="zh-CN" dirty="0"/>
          </a:p>
          <a:p>
            <a:pPr marL="0" indent="0">
              <a:buNone/>
            </a:pPr>
            <a:r>
              <a:rPr lang="zh-CN" altLang="en-US" dirty="0"/>
              <a:t>   维持：艾沙康唑注射液</a:t>
            </a:r>
            <a:r>
              <a:rPr lang="en-US" altLang="zh-CN" dirty="0"/>
              <a:t>200mg </a:t>
            </a:r>
            <a:r>
              <a:rPr lang="en-US" altLang="zh-CN" dirty="0" err="1"/>
              <a:t>qd</a:t>
            </a:r>
            <a:endParaRPr lang="en-US" altLang="zh-CN" dirty="0"/>
          </a:p>
          <a:p>
            <a:pPr marL="0" indent="0">
              <a:buNone/>
            </a:pPr>
            <a:endParaRPr lang="en-US" altLang="zh-CN" dirty="0"/>
          </a:p>
          <a:p>
            <a:pPr marL="0" indent="0">
              <a:buNone/>
            </a:pPr>
            <a:r>
              <a:rPr lang="en-US" altLang="zh-CN" dirty="0"/>
              <a:t>   </a:t>
            </a:r>
            <a:r>
              <a:rPr lang="zh-CN" altLang="en-US" dirty="0"/>
              <a:t>出院序贯：艾沙康唑胶囊</a:t>
            </a:r>
            <a:r>
              <a:rPr lang="en-US" altLang="zh-CN" dirty="0"/>
              <a:t> 200mg  </a:t>
            </a:r>
            <a:r>
              <a:rPr lang="en-US" altLang="zh-CN" dirty="0" err="1"/>
              <a:t>qd</a:t>
            </a:r>
            <a:endParaRPr lang="zh-CN" altLang="en-US" dirty="0"/>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5-6-17         VS        2025-5-27</a:t>
            </a:r>
            <a:endParaRPr lang="zh-CN" altLang="en-US" dirty="0"/>
          </a:p>
        </p:txBody>
      </p:sp>
      <p:pic>
        <p:nvPicPr>
          <p:cNvPr id="1026" name="Picture 2"/>
          <p:cNvPicPr>
            <a:picLocks noGrp="1" noChangeAspect="1" noChangeArrowheads="1"/>
          </p:cNvPicPr>
          <p:nvPr>
            <p:ph idx="1"/>
          </p:nvPr>
        </p:nvPicPr>
        <p:blipFill>
          <a:blip r:embed="rId1"/>
          <a:srcRect/>
          <a:stretch>
            <a:fillRect/>
          </a:stretch>
        </p:blipFill>
        <p:spPr bwMode="auto">
          <a:xfrm>
            <a:off x="1906493" y="1005762"/>
            <a:ext cx="8015429" cy="2560333"/>
          </a:xfrm>
          <a:prstGeom prst="rect">
            <a:avLst/>
          </a:prstGeom>
          <a:noFill/>
          <a:ln w="9525">
            <a:noFill/>
            <a:miter lim="800000"/>
            <a:headEnd/>
            <a:tailEnd/>
          </a:ln>
          <a:effectLst/>
        </p:spPr>
      </p:pic>
      <p:pic>
        <p:nvPicPr>
          <p:cNvPr id="5" name="Picture 2"/>
          <p:cNvPicPr>
            <a:picLocks noChangeAspect="1" noChangeArrowheads="1"/>
          </p:cNvPicPr>
          <p:nvPr/>
        </p:nvPicPr>
        <p:blipFill>
          <a:blip r:embed="rId2"/>
          <a:srcRect/>
          <a:stretch>
            <a:fillRect/>
          </a:stretch>
        </p:blipFill>
        <p:spPr bwMode="auto">
          <a:xfrm>
            <a:off x="1879200" y="3653412"/>
            <a:ext cx="8042611" cy="2529024"/>
          </a:xfrm>
          <a:prstGeom prst="rect">
            <a:avLst/>
          </a:prstGeom>
          <a:noFill/>
          <a:ln w="9525">
            <a:noFill/>
            <a:miter lim="800000"/>
            <a:headEnd/>
            <a:tailEnd/>
          </a:ln>
          <a:effectLst/>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治疗</a:t>
            </a:r>
            <a:endParaRPr lang="zh-CN" altLang="en-US" dirty="0"/>
          </a:p>
        </p:txBody>
      </p:sp>
      <p:sp>
        <p:nvSpPr>
          <p:cNvPr id="3" name="内容占位符 2"/>
          <p:cNvSpPr>
            <a:spLocks noGrp="1"/>
          </p:cNvSpPr>
          <p:nvPr>
            <p:ph idx="1"/>
          </p:nvPr>
        </p:nvSpPr>
        <p:spPr>
          <a:xfrm>
            <a:off x="2167203" y="1591141"/>
            <a:ext cx="9186597" cy="2948202"/>
          </a:xfrm>
        </p:spPr>
        <p:txBody>
          <a:bodyPr/>
          <a:lstStyle/>
          <a:p>
            <a:pPr>
              <a:buNone/>
            </a:pPr>
            <a:r>
              <a:rPr lang="zh-CN" altLang="en-US" dirty="0"/>
              <a:t>继续艾沙康唑胶囊</a:t>
            </a:r>
            <a:r>
              <a:rPr lang="en-US" altLang="zh-CN" dirty="0"/>
              <a:t> 200mg  </a:t>
            </a:r>
            <a:r>
              <a:rPr lang="en-US" altLang="zh-CN" dirty="0" err="1"/>
              <a:t>qd</a:t>
            </a:r>
            <a:r>
              <a:rPr lang="zh-CN" altLang="en-US" dirty="0"/>
              <a:t>抗真菌治疗</a:t>
            </a:r>
            <a:endParaRPr lang="en-US" altLang="zh-CN" dirty="0"/>
          </a:p>
          <a:p>
            <a:pPr>
              <a:buNone/>
            </a:pPr>
            <a:endParaRPr lang="en-US" altLang="zh-CN" dirty="0"/>
          </a:p>
          <a:p>
            <a:pPr>
              <a:buNone/>
            </a:pPr>
            <a:endParaRPr lang="en-US" altLang="zh-CN" dirty="0"/>
          </a:p>
          <a:p>
            <a:pPr>
              <a:buNone/>
            </a:pPr>
            <a:r>
              <a:rPr lang="en-US" altLang="zh-CN" dirty="0"/>
              <a:t>2025-07-03  </a:t>
            </a:r>
            <a:r>
              <a:rPr lang="zh-CN" altLang="en-US" dirty="0"/>
              <a:t>第</a:t>
            </a:r>
            <a:r>
              <a:rPr lang="en-US" altLang="zh-CN" dirty="0"/>
              <a:t>2</a:t>
            </a:r>
            <a:r>
              <a:rPr lang="zh-CN" altLang="en-US" dirty="0"/>
              <a:t>疗程  替雷利珠单抗</a:t>
            </a:r>
            <a:r>
              <a:rPr lang="en-US" altLang="zh-CN" dirty="0"/>
              <a:t>200mg</a:t>
            </a:r>
            <a:r>
              <a:rPr lang="zh-CN" altLang="en-US" dirty="0"/>
              <a:t>免疫治疗，过程顺利</a:t>
            </a:r>
            <a:endParaRPr lang="en-US" altLang="zh-CN" dirty="0"/>
          </a:p>
          <a:p>
            <a:pPr>
              <a:buNone/>
            </a:pPr>
            <a:endParaRPr lang="en-US" altLang="zh-CN" dirty="0"/>
          </a:p>
          <a:p>
            <a:pPr>
              <a:buNone/>
            </a:pPr>
            <a:endParaRPr lang="zh-CN" altLang="en-US" dirty="0"/>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5-7-22        VS        2025-6-17</a:t>
            </a:r>
            <a:endParaRPr lang="zh-CN" altLang="en-US" dirty="0"/>
          </a:p>
        </p:txBody>
      </p:sp>
      <p:pic>
        <p:nvPicPr>
          <p:cNvPr id="1026" name="Picture 2"/>
          <p:cNvPicPr>
            <a:picLocks noGrp="1" noChangeAspect="1" noChangeArrowheads="1"/>
          </p:cNvPicPr>
          <p:nvPr>
            <p:ph idx="1"/>
          </p:nvPr>
        </p:nvPicPr>
        <p:blipFill>
          <a:blip r:embed="rId1"/>
          <a:srcRect/>
          <a:stretch>
            <a:fillRect/>
          </a:stretch>
        </p:blipFill>
        <p:spPr bwMode="auto">
          <a:xfrm>
            <a:off x="1878086" y="1054974"/>
            <a:ext cx="7659318" cy="2475582"/>
          </a:xfrm>
          <a:prstGeom prst="rect">
            <a:avLst/>
          </a:prstGeom>
          <a:noFill/>
          <a:ln w="9525">
            <a:noFill/>
            <a:miter lim="800000"/>
            <a:headEnd/>
            <a:tailEnd/>
          </a:ln>
          <a:effectLst/>
        </p:spPr>
      </p:pic>
      <p:pic>
        <p:nvPicPr>
          <p:cNvPr id="1027" name="Picture 3"/>
          <p:cNvPicPr>
            <a:picLocks noChangeAspect="1" noChangeArrowheads="1"/>
          </p:cNvPicPr>
          <p:nvPr/>
        </p:nvPicPr>
        <p:blipFill>
          <a:blip r:embed="rId2"/>
          <a:srcRect/>
          <a:stretch>
            <a:fillRect/>
          </a:stretch>
        </p:blipFill>
        <p:spPr bwMode="auto">
          <a:xfrm>
            <a:off x="1871331" y="3555703"/>
            <a:ext cx="7687339" cy="2510561"/>
          </a:xfrm>
          <a:prstGeom prst="rect">
            <a:avLst/>
          </a:prstGeom>
          <a:noFill/>
          <a:ln w="9525">
            <a:noFill/>
            <a:miter lim="800000"/>
            <a:headEnd/>
            <a:tailEnd/>
          </a:ln>
          <a:effectLst/>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87464" y="268076"/>
            <a:ext cx="10515600" cy="722249"/>
          </a:xfrm>
        </p:spPr>
        <p:txBody>
          <a:bodyPr vert="horz" wrap="square" lIns="91440" tIns="45720" rIns="91440" bIns="45720" rtlCol="0" anchor="ctr">
            <a:spAutoFit/>
          </a:bodyPr>
          <a:lstStyle/>
          <a:p>
            <a:pPr>
              <a:lnSpc>
                <a:spcPct val="110000"/>
              </a:lnSpc>
            </a:pPr>
            <a:r>
              <a:rPr lang="zh-CN" altLang="en-US" sz="4000" dirty="0">
                <a:latin typeface="微软雅黑" panose="020B0503020204020204" charset="-122"/>
                <a:ea typeface="微软雅黑" panose="020B0503020204020204" charset="-122"/>
              </a:rPr>
              <a:t>    治疗回顾</a:t>
            </a:r>
            <a:endParaRPr lang="zh-CN" altLang="en-US" sz="4000" dirty="0">
              <a:latin typeface="微软雅黑" panose="020B0503020204020204" charset="-122"/>
              <a:ea typeface="微软雅黑" panose="020B0503020204020204" charset="-122"/>
            </a:endParaRPr>
          </a:p>
        </p:txBody>
      </p:sp>
      <p:sp>
        <p:nvSpPr>
          <p:cNvPr id="4" name="箭头: 右 3"/>
          <p:cNvSpPr/>
          <p:nvPr/>
        </p:nvSpPr>
        <p:spPr>
          <a:xfrm>
            <a:off x="2207569" y="2708920"/>
            <a:ext cx="8460431" cy="11255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5" name="矩形 4"/>
          <p:cNvSpPr/>
          <p:nvPr/>
        </p:nvSpPr>
        <p:spPr>
          <a:xfrm>
            <a:off x="2293472" y="2812368"/>
            <a:ext cx="144016" cy="9361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6" name="文本框 5"/>
          <p:cNvSpPr txBox="1"/>
          <p:nvPr/>
        </p:nvSpPr>
        <p:spPr>
          <a:xfrm>
            <a:off x="1554495" y="3954209"/>
            <a:ext cx="162197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rPr>
              <a:t>2024.11.14</a:t>
            </a:r>
            <a:endParaRPr kumimoji="0" lang="zh-CN" altLang="en-US"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7" name="文本框 6"/>
          <p:cNvSpPr txBox="1"/>
          <p:nvPr/>
        </p:nvSpPr>
        <p:spPr>
          <a:xfrm>
            <a:off x="1892256" y="2348880"/>
            <a:ext cx="94644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rPr>
              <a:t>首诊</a:t>
            </a: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8" name="矩形 7"/>
          <p:cNvSpPr/>
          <p:nvPr/>
        </p:nvSpPr>
        <p:spPr>
          <a:xfrm>
            <a:off x="4352186" y="2803620"/>
            <a:ext cx="144016" cy="9361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0" name="文本框 9"/>
          <p:cNvSpPr txBox="1"/>
          <p:nvPr/>
        </p:nvSpPr>
        <p:spPr>
          <a:xfrm>
            <a:off x="3586962" y="3915191"/>
            <a:ext cx="153044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rPr>
              <a:t>2025</a:t>
            </a:r>
            <a:r>
              <a:rPr lang="en-US" altLang="zh-CN" sz="2000" dirty="0">
                <a:solidFill>
                  <a:prstClr val="black"/>
                </a:solidFill>
                <a:latin typeface="Calibri" panose="020F0502020204030204"/>
                <a:ea typeface="宋体" panose="02010600030101010101" pitchFamily="2" charset="-122"/>
              </a:rPr>
              <a:t>.1.27</a:t>
            </a:r>
            <a:endParaRPr kumimoji="0" lang="zh-CN" altLang="en-US"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11" name="文本框 10"/>
          <p:cNvSpPr txBox="1"/>
          <p:nvPr/>
        </p:nvSpPr>
        <p:spPr>
          <a:xfrm>
            <a:off x="3016351" y="3062752"/>
            <a:ext cx="94644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err="1">
                <a:ln>
                  <a:noFill/>
                </a:ln>
                <a:solidFill>
                  <a:schemeClr val="bg1"/>
                </a:solidFill>
                <a:effectLst/>
                <a:uLnTx/>
                <a:uFillTx/>
                <a:latin typeface="Calibri" panose="020F0502020204030204"/>
                <a:ea typeface="宋体" panose="02010600030101010101" pitchFamily="2" charset="-122"/>
                <a:cs typeface="+mn-cs"/>
              </a:rPr>
              <a:t>sCRT</a:t>
            </a:r>
            <a:endParaRPr kumimoji="0" lang="zh-CN" altLang="en-US" sz="2400" b="0" i="0" u="none" strike="noStrike" kern="1200" cap="none" spc="0" normalizeH="0" baseline="0" noProof="0" dirty="0">
              <a:ln>
                <a:noFill/>
              </a:ln>
              <a:solidFill>
                <a:schemeClr val="bg1"/>
              </a:solidFill>
              <a:effectLst/>
              <a:uLnTx/>
              <a:uFillTx/>
              <a:latin typeface="Calibri" panose="020F0502020204030204"/>
              <a:ea typeface="宋体" panose="02010600030101010101" pitchFamily="2" charset="-122"/>
              <a:cs typeface="+mn-cs"/>
            </a:endParaRPr>
          </a:p>
        </p:txBody>
      </p:sp>
      <p:sp>
        <p:nvSpPr>
          <p:cNvPr id="12" name="矩形 11"/>
          <p:cNvSpPr/>
          <p:nvPr/>
        </p:nvSpPr>
        <p:spPr>
          <a:xfrm>
            <a:off x="7414840" y="2803620"/>
            <a:ext cx="144016" cy="9361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3" name="文本框 12"/>
          <p:cNvSpPr txBox="1"/>
          <p:nvPr/>
        </p:nvSpPr>
        <p:spPr>
          <a:xfrm>
            <a:off x="6752795" y="3932638"/>
            <a:ext cx="128019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rPr>
              <a:t>2025.5.12</a:t>
            </a:r>
            <a:endParaRPr kumimoji="0" lang="zh-CN" altLang="en-US"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15" name="文本框 14"/>
          <p:cNvSpPr txBox="1"/>
          <p:nvPr/>
        </p:nvSpPr>
        <p:spPr>
          <a:xfrm>
            <a:off x="5697297" y="3028890"/>
            <a:ext cx="188704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2400" b="1" dirty="0">
                <a:solidFill>
                  <a:schemeClr val="bg1"/>
                </a:solidFill>
                <a:latin typeface="Calibri" panose="020F0502020204030204"/>
                <a:ea typeface="宋体" panose="02010600030101010101" pitchFamily="2" charset="-122"/>
              </a:rPr>
              <a:t>放射性肺炎</a:t>
            </a:r>
            <a:endParaRPr kumimoji="0" lang="zh-CN" altLang="en-US" sz="2400" b="1" i="0" u="none" strike="noStrike" kern="1200" cap="none" spc="0" normalizeH="0" baseline="0" noProof="0" dirty="0">
              <a:ln>
                <a:noFill/>
              </a:ln>
              <a:solidFill>
                <a:schemeClr val="bg1"/>
              </a:solidFill>
              <a:effectLst/>
              <a:uLnTx/>
              <a:uFillTx/>
              <a:latin typeface="Calibri" panose="020F0502020204030204"/>
              <a:ea typeface="宋体" panose="02010600030101010101" pitchFamily="2" charset="-122"/>
              <a:cs typeface="+mn-cs"/>
            </a:endParaRPr>
          </a:p>
        </p:txBody>
      </p:sp>
      <p:sp>
        <p:nvSpPr>
          <p:cNvPr id="18" name="文本框 17"/>
          <p:cNvSpPr txBox="1"/>
          <p:nvPr/>
        </p:nvSpPr>
        <p:spPr>
          <a:xfrm>
            <a:off x="8691125" y="3920376"/>
            <a:ext cx="128019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rPr>
              <a:t>2025.8.20</a:t>
            </a:r>
            <a:endParaRPr kumimoji="0" lang="zh-CN" altLang="en-US"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22" name="左大括号 21"/>
          <p:cNvSpPr/>
          <p:nvPr/>
        </p:nvSpPr>
        <p:spPr>
          <a:xfrm rot="16200000">
            <a:off x="6062984" y="988455"/>
            <a:ext cx="459167" cy="7662293"/>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23" name="文本框 22"/>
          <p:cNvSpPr txBox="1"/>
          <p:nvPr/>
        </p:nvSpPr>
        <p:spPr>
          <a:xfrm>
            <a:off x="4993968" y="5148927"/>
            <a:ext cx="2564888" cy="46166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400" dirty="0">
                <a:solidFill>
                  <a:srgbClr val="C00000"/>
                </a:solidFill>
                <a:latin typeface="Calibri" panose="020F0502020204030204"/>
                <a:ea typeface="宋体" panose="02010600030101010101" pitchFamily="2" charset="-122"/>
              </a:rPr>
              <a:t>PFS </a:t>
            </a:r>
            <a:r>
              <a:rPr kumimoji="0" lang="en-US" altLang="zh-CN" sz="2400" b="0" i="0" u="none" strike="noStrike" kern="1200" cap="none" spc="0" normalizeH="0" baseline="0" noProof="0" dirty="0">
                <a:ln>
                  <a:noFill/>
                </a:ln>
                <a:solidFill>
                  <a:srgbClr val="C00000"/>
                </a:solidFill>
                <a:effectLst/>
                <a:uLnTx/>
                <a:uFillTx/>
                <a:latin typeface="Calibri" panose="020F0502020204030204"/>
                <a:ea typeface="宋体" panose="02010600030101010101" pitchFamily="2" charset="-122"/>
                <a:cs typeface="+mn-cs"/>
              </a:rPr>
              <a:t> 9</a:t>
            </a:r>
            <a:r>
              <a:rPr kumimoji="0" lang="zh-CN" altLang="en-US" sz="2400" b="0" i="0" u="none" strike="noStrike" kern="1200" cap="none" spc="0" normalizeH="0" baseline="0" noProof="0" dirty="0">
                <a:ln>
                  <a:noFill/>
                </a:ln>
                <a:solidFill>
                  <a:srgbClr val="C00000"/>
                </a:solidFill>
                <a:effectLst/>
                <a:uLnTx/>
                <a:uFillTx/>
                <a:latin typeface="Calibri" panose="020F0502020204030204"/>
                <a:ea typeface="宋体" panose="02010600030101010101" pitchFamily="2" charset="-122"/>
                <a:cs typeface="+mn-cs"/>
              </a:rPr>
              <a:t>个月</a:t>
            </a:r>
            <a:endParaRPr kumimoji="0" lang="zh-CN" altLang="en-US" sz="2400" b="0" i="0" u="none" strike="noStrike" kern="1200" cap="none" spc="0" normalizeH="0" baseline="0" noProof="0" dirty="0">
              <a:ln>
                <a:noFill/>
              </a:ln>
              <a:solidFill>
                <a:srgbClr val="C00000"/>
              </a:solidFill>
              <a:effectLst/>
              <a:uLnTx/>
              <a:uFillTx/>
              <a:latin typeface="Calibri" panose="020F0502020204030204"/>
              <a:ea typeface="宋体" panose="02010600030101010101" pitchFamily="2" charset="-122"/>
              <a:cs typeface="+mn-cs"/>
            </a:endParaRPr>
          </a:p>
        </p:txBody>
      </p:sp>
      <p:sp>
        <p:nvSpPr>
          <p:cNvPr id="17" name="文本框 16"/>
          <p:cNvSpPr txBox="1"/>
          <p:nvPr/>
        </p:nvSpPr>
        <p:spPr>
          <a:xfrm>
            <a:off x="6983007" y="2380924"/>
            <a:ext cx="1139406" cy="400110"/>
          </a:xfrm>
          <a:prstGeom prst="rect">
            <a:avLst/>
          </a:prstGeom>
          <a:noFill/>
        </p:spPr>
        <p:txBody>
          <a:bodyPr wrap="square">
            <a:spAutoFit/>
          </a:bodyPr>
          <a:lstStyle/>
          <a:p>
            <a:r>
              <a:rPr lang="en-US" altLang="zh-CN" sz="2000" dirty="0"/>
              <a:t>C1</a:t>
            </a:r>
            <a:r>
              <a:rPr lang="zh-CN" altLang="en-US" sz="2000" dirty="0"/>
              <a:t>  </a:t>
            </a:r>
            <a:r>
              <a:rPr lang="en-US" altLang="zh-CN" sz="2000" dirty="0"/>
              <a:t>PD1  </a:t>
            </a:r>
            <a:endParaRPr lang="zh-CN" altLang="en-US" sz="2000" dirty="0"/>
          </a:p>
        </p:txBody>
      </p:sp>
      <p:sp>
        <p:nvSpPr>
          <p:cNvPr id="26" name="矩形 25"/>
          <p:cNvSpPr/>
          <p:nvPr/>
        </p:nvSpPr>
        <p:spPr>
          <a:xfrm>
            <a:off x="9020236" y="2812368"/>
            <a:ext cx="144016" cy="9361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28" name="文本框 27"/>
          <p:cNvSpPr txBox="1"/>
          <p:nvPr/>
        </p:nvSpPr>
        <p:spPr>
          <a:xfrm>
            <a:off x="8594549" y="2357084"/>
            <a:ext cx="1139406" cy="400110"/>
          </a:xfrm>
          <a:prstGeom prst="rect">
            <a:avLst/>
          </a:prstGeom>
          <a:noFill/>
        </p:spPr>
        <p:txBody>
          <a:bodyPr wrap="square">
            <a:spAutoFit/>
          </a:bodyPr>
          <a:lstStyle/>
          <a:p>
            <a:r>
              <a:rPr lang="en-US" altLang="zh-CN" sz="2000" dirty="0"/>
              <a:t>C2  PD1  </a:t>
            </a:r>
            <a:endParaRPr lang="zh-CN" altLang="en-US" sz="2000" dirty="0"/>
          </a:p>
        </p:txBody>
      </p:sp>
      <p:sp>
        <p:nvSpPr>
          <p:cNvPr id="29" name="矩形 28"/>
          <p:cNvSpPr/>
          <p:nvPr/>
        </p:nvSpPr>
        <p:spPr>
          <a:xfrm>
            <a:off x="5363673" y="2836859"/>
            <a:ext cx="144016" cy="9361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30" name="文本框 29"/>
          <p:cNvSpPr txBox="1"/>
          <p:nvPr/>
        </p:nvSpPr>
        <p:spPr>
          <a:xfrm>
            <a:off x="4932073" y="3915191"/>
            <a:ext cx="153044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rPr>
              <a:t>2025</a:t>
            </a:r>
            <a:r>
              <a:rPr lang="en-US" altLang="zh-CN" sz="2000" dirty="0">
                <a:solidFill>
                  <a:prstClr val="black"/>
                </a:solidFill>
                <a:latin typeface="Calibri" panose="020F0502020204030204"/>
                <a:ea typeface="宋体" panose="02010600030101010101" pitchFamily="2" charset="-122"/>
              </a:rPr>
              <a:t>.2.28</a:t>
            </a:r>
            <a:endParaRPr kumimoji="0" lang="zh-CN" altLang="en-US"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32" name="矩形: 圆角 31"/>
          <p:cNvSpPr/>
          <p:nvPr/>
        </p:nvSpPr>
        <p:spPr>
          <a:xfrm>
            <a:off x="8122413" y="3028890"/>
            <a:ext cx="2001301" cy="443098"/>
          </a:xfrm>
          <a:prstGeom prst="round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defRPr/>
            </a:pPr>
            <a:r>
              <a:rPr lang="en-US" altLang="zh-CN" sz="2400" b="1" dirty="0">
                <a:solidFill>
                  <a:srgbClr val="7030A0"/>
                </a:solidFill>
              </a:rPr>
              <a:t>IPA</a:t>
            </a:r>
            <a:endParaRPr lang="zh-CN" altLang="en-US" sz="2400" b="1" dirty="0">
              <a:solidFill>
                <a:srgbClr val="7030A0"/>
              </a:solidFill>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endParaRPr lang="zh-CN" altLang="en-US" dirty="0"/>
          </a:p>
        </p:txBody>
      </p:sp>
      <p:sp>
        <p:nvSpPr>
          <p:cNvPr id="8" name="文本框 7"/>
          <p:cNvSpPr txBox="1"/>
          <p:nvPr>
            <p:custDataLst>
              <p:tags r:id="rId1"/>
            </p:custDataLst>
          </p:nvPr>
        </p:nvSpPr>
        <p:spPr>
          <a:xfrm>
            <a:off x="1345847" y="1163472"/>
            <a:ext cx="10045241" cy="5139055"/>
          </a:xfrm>
          <a:prstGeom prst="rect">
            <a:avLst/>
          </a:prstGeom>
          <a:noFill/>
        </p:spPr>
        <p:txBody>
          <a:bodyPr wrap="square" rtlCol="0">
            <a:spAutoFit/>
          </a:bodyPr>
          <a:lstStyle/>
          <a:p>
            <a:pPr marL="342900" indent="-342900">
              <a:lnSpc>
                <a:spcPct val="200000"/>
              </a:lnSpc>
              <a:buFont typeface="Wingdings" panose="05000000000000000000" charset="0"/>
              <a:buChar char="n"/>
            </a:pPr>
            <a:r>
              <a:rPr lang="zh-CN" altLang="en-US" sz="2800" b="1" dirty="0"/>
              <a:t>肺癌</a:t>
            </a:r>
            <a:r>
              <a:rPr lang="en-US" altLang="zh-CN" sz="2800" b="1" dirty="0"/>
              <a:t>----</a:t>
            </a:r>
            <a:r>
              <a:rPr lang="zh-CN" altLang="en-US" sz="2800" b="1" dirty="0"/>
              <a:t>呼吸科病种构成逐年升高。</a:t>
            </a:r>
            <a:endParaRPr lang="en-US" altLang="zh-CN" sz="2800" b="1" dirty="0"/>
          </a:p>
          <a:p>
            <a:pPr marL="342900" indent="-342900">
              <a:lnSpc>
                <a:spcPct val="200000"/>
              </a:lnSpc>
              <a:buFont typeface="Wingdings" panose="05000000000000000000" charset="0"/>
              <a:buChar char="n"/>
            </a:pPr>
            <a:r>
              <a:rPr lang="zh-CN" altLang="en-US" sz="2800" b="1" dirty="0"/>
              <a:t>肺癌经治长生存患者日益增多，曲霉感染风险高。</a:t>
            </a:r>
            <a:endParaRPr lang="en-US" altLang="zh-CN" sz="2800" b="1" dirty="0"/>
          </a:p>
          <a:p>
            <a:pPr marL="342900" indent="-342900">
              <a:lnSpc>
                <a:spcPct val="200000"/>
              </a:lnSpc>
              <a:buFont typeface="Wingdings" panose="05000000000000000000" charset="0"/>
              <a:buChar char="n"/>
            </a:pPr>
            <a:r>
              <a:rPr lang="zh-CN" altLang="en-US" sz="2800" b="1" dirty="0"/>
              <a:t>患者基础疾病多、肝肾功能储备差、合并用药多。</a:t>
            </a:r>
            <a:endParaRPr lang="en-US" altLang="zh-CN" sz="2800" b="1" dirty="0"/>
          </a:p>
          <a:p>
            <a:pPr marL="342900" indent="-342900">
              <a:lnSpc>
                <a:spcPct val="200000"/>
              </a:lnSpc>
              <a:buFont typeface="Wingdings" panose="05000000000000000000" charset="0"/>
              <a:buChar char="n"/>
            </a:pPr>
            <a:r>
              <a:rPr lang="zh-CN" altLang="en-US" sz="2800" b="1" dirty="0"/>
              <a:t>抗真菌</a:t>
            </a:r>
            <a:r>
              <a:rPr lang="en-US" altLang="zh-CN" sz="2800" b="1" dirty="0"/>
              <a:t>----</a:t>
            </a:r>
            <a:r>
              <a:rPr lang="zh-CN" altLang="en-US" sz="2800" b="1" dirty="0"/>
              <a:t>高效、副作用低、药物相互作用小、静脉口服序贯。</a:t>
            </a:r>
            <a:endParaRPr lang="zh-CN" altLang="en-US" sz="2800" b="1" dirty="0"/>
          </a:p>
          <a:p>
            <a:pPr marL="342900" indent="-342900">
              <a:lnSpc>
                <a:spcPct val="200000"/>
              </a:lnSpc>
              <a:buFont typeface="Wingdings" panose="05000000000000000000" charset="0"/>
              <a:buChar char="n"/>
            </a:pPr>
            <a:r>
              <a:rPr lang="zh-CN" altLang="en-US" sz="2800" b="1" dirty="0"/>
              <a:t>使用方便、无需</a:t>
            </a:r>
            <a:r>
              <a:rPr lang="en-US" altLang="zh-CN" sz="2800" b="1" dirty="0"/>
              <a:t>TDM-----</a:t>
            </a:r>
            <a:r>
              <a:rPr lang="zh-CN" altLang="en-US" sz="2800" b="1" dirty="0"/>
              <a:t>优选艾沙康唑？</a:t>
            </a:r>
            <a:endParaRPr lang="zh-CN" altLang="en-US" sz="2800" b="1" dirty="0"/>
          </a:p>
          <a:p>
            <a:pPr>
              <a:lnSpc>
                <a:spcPct val="200000"/>
              </a:lnSpc>
            </a:pPr>
            <a:endParaRPr lang="zh-CN" altLang="en-US" sz="2400" dirty="0"/>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074779" y="1867365"/>
            <a:ext cx="9936480" cy="460375"/>
          </a:xfrm>
          <a:prstGeom prst="rect">
            <a:avLst/>
          </a:prstGeom>
          <a:noFill/>
        </p:spPr>
        <p:txBody>
          <a:bodyPr wrap="none" rtlCol="0">
            <a:spAutoFit/>
          </a:bodyPr>
          <a:lstStyle/>
          <a:p>
            <a:pPr algn="l"/>
            <a:r>
              <a:rPr lang="zh-CN" altLang="en-US" sz="1200" dirty="0"/>
              <a:t>免责声明：此资料应仅在其原始链接位置观看。对于经其他途径查看到的内容，辉瑞不承担责任。请扫描文档旁边的二维码，以获得说明书信息。</a:t>
            </a:r>
            <a:endParaRPr lang="zh-CN" altLang="en-US" sz="1200" dirty="0"/>
          </a:p>
          <a:p>
            <a:pPr algn="l"/>
            <a:r>
              <a:rPr lang="zh-CN" altLang="en-US" sz="1200" dirty="0"/>
              <a:t>仅供医学药学专业人士阅读/参考或仅供医疗卫生专业人士阅读/参考</a:t>
            </a:r>
            <a:endParaRPr lang="zh-CN" altLang="en-US" sz="1200" dirty="0"/>
          </a:p>
        </p:txBody>
      </p:sp>
      <p:sp>
        <p:nvSpPr>
          <p:cNvPr id="12" name="文本框 11"/>
          <p:cNvSpPr txBox="1"/>
          <p:nvPr>
            <p:custDataLst>
              <p:tags r:id="rId1"/>
            </p:custDataLst>
          </p:nvPr>
        </p:nvSpPr>
        <p:spPr>
          <a:xfrm>
            <a:off x="5375298" y="4460370"/>
            <a:ext cx="1402080" cy="275590"/>
          </a:xfrm>
          <a:prstGeom prst="rect">
            <a:avLst/>
          </a:prstGeom>
          <a:noFill/>
        </p:spPr>
        <p:txBody>
          <a:bodyPr wrap="none" rtlCol="0">
            <a:spAutoFit/>
          </a:bodyPr>
          <a:lstStyle/>
          <a:p>
            <a:r>
              <a:rPr lang="zh-CN" altLang="en-US" sz="1200" dirty="0">
                <a:latin typeface="微软雅黑" panose="020B0503020204020204" charset="-122"/>
                <a:ea typeface="微软雅黑" panose="020B0503020204020204" charset="-122"/>
              </a:rPr>
              <a:t>康新博产品说明书</a:t>
            </a:r>
            <a:endParaRPr lang="zh-CN" altLang="en-US" sz="1200" dirty="0">
              <a:latin typeface="微软雅黑" panose="020B0503020204020204" charset="-122"/>
              <a:ea typeface="微软雅黑" panose="020B0503020204020204" charset="-122"/>
            </a:endParaRPr>
          </a:p>
        </p:txBody>
      </p:sp>
      <p:sp>
        <p:nvSpPr>
          <p:cNvPr id="3" name="文本框 3"/>
          <p:cNvSpPr txBox="1"/>
          <p:nvPr/>
        </p:nvSpPr>
        <p:spPr>
          <a:xfrm>
            <a:off x="10142941" y="6542448"/>
            <a:ext cx="1778766" cy="255263"/>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defRPr/>
            </a:pPr>
            <a:r>
              <a:rPr lang="zh-CN" altLang="en-US" sz="800" dirty="0">
                <a:latin typeface="微软雅黑" panose="020B0503020204020204" charset="-122"/>
                <a:ea typeface="微软雅黑" panose="020B0503020204020204" charset="-122"/>
                <a:cs typeface="Times New Roman" panose="02020603050405020304" pitchFamily="18" charset="0"/>
              </a:rPr>
              <a:t>审核号：</a:t>
            </a:r>
            <a:r>
              <a:rPr lang="en-US" altLang="zh-CN" sz="800" dirty="0">
                <a:latin typeface="微软雅黑" panose="020B0503020204020204" charset="-122"/>
                <a:ea typeface="微软雅黑" panose="020B0503020204020204" charset="-122"/>
                <a:cs typeface="Times New Roman" panose="02020603050405020304" pitchFamily="18" charset="0"/>
              </a:rPr>
              <a:t>PP-ATM-CHN-0013</a:t>
            </a:r>
            <a:endParaRPr lang="zh-CN" altLang="en-US" dirty="0">
              <a:latin typeface="微软雅黑" panose="020B0503020204020204" charset="-122"/>
              <a:ea typeface="微软雅黑" panose="020B0503020204020204" charset="-122"/>
              <a:cs typeface="Times New Roman" panose="02020603050405020304" pitchFamily="18" charset="0"/>
            </a:endParaRPr>
          </a:p>
        </p:txBody>
      </p:sp>
      <p:pic>
        <p:nvPicPr>
          <p:cNvPr id="8" name="图片 7"/>
          <p:cNvPicPr>
            <a:picLocks noChangeAspect="1"/>
          </p:cNvPicPr>
          <p:nvPr>
            <p:custDataLst>
              <p:tags r:id="rId2"/>
            </p:custDataLst>
          </p:nvPr>
        </p:nvPicPr>
        <p:blipFill>
          <a:blip r:embed="rId3" cstate="print">
            <a:extLst>
              <a:ext uri="{28A0092B-C50C-407E-A947-70E740481C1C}">
                <a14:useLocalDpi xmlns:a14="http://schemas.microsoft.com/office/drawing/2010/main" val="0"/>
              </a:ext>
            </a:extLst>
          </a:blip>
          <a:stretch>
            <a:fillRect/>
          </a:stretch>
        </p:blipFill>
        <p:spPr>
          <a:xfrm>
            <a:off x="5308600" y="2915285"/>
            <a:ext cx="1468755" cy="1407160"/>
          </a:xfrm>
          <a:prstGeom prst="rect">
            <a:avLst/>
          </a:prstGeom>
          <a:noFill/>
          <a:ln w="12700">
            <a:noFill/>
          </a:ln>
          <a:effectLst/>
        </p:spPr>
      </p:pic>
    </p:spTree>
    <p:custDataLst>
      <p:tags r:id="rId4"/>
    </p:custData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6"/>
          <p:cNvGrpSpPr/>
          <p:nvPr/>
        </p:nvGrpSpPr>
        <p:grpSpPr>
          <a:xfrm>
            <a:off x="2218753" y="1970593"/>
            <a:ext cx="3139151" cy="2338695"/>
            <a:chOff x="539552" y="1916832"/>
            <a:chExt cx="3312368" cy="3528392"/>
          </a:xfrm>
        </p:grpSpPr>
        <p:sp>
          <p:nvSpPr>
            <p:cNvPr id="8" name="矩形 7"/>
            <p:cNvSpPr/>
            <p:nvPr/>
          </p:nvSpPr>
          <p:spPr>
            <a:xfrm>
              <a:off x="539552" y="1916832"/>
              <a:ext cx="1728192" cy="1728192"/>
            </a:xfrm>
            <a:prstGeom prst="rect">
              <a:avLst/>
            </a:prstGeom>
            <a:solidFill>
              <a:srgbClr val="7C233E"/>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9" name="矩形 8"/>
            <p:cNvSpPr/>
            <p:nvPr/>
          </p:nvSpPr>
          <p:spPr>
            <a:xfrm>
              <a:off x="2123728" y="3717032"/>
              <a:ext cx="1728192" cy="1728192"/>
            </a:xfrm>
            <a:prstGeom prst="rect">
              <a:avLst/>
            </a:prstGeom>
            <a:solidFill>
              <a:srgbClr val="7C233E"/>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10" name="矩形 9"/>
            <p:cNvSpPr/>
            <p:nvPr/>
          </p:nvSpPr>
          <p:spPr>
            <a:xfrm>
              <a:off x="2339752" y="2132856"/>
              <a:ext cx="1512168" cy="1512168"/>
            </a:xfrm>
            <a:prstGeom prst="rect">
              <a:avLst/>
            </a:prstGeom>
            <a:solidFill>
              <a:srgbClr val="C9CBE7"/>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sp>
          <p:nvSpPr>
            <p:cNvPr id="11" name="矩形 10"/>
            <p:cNvSpPr/>
            <p:nvPr/>
          </p:nvSpPr>
          <p:spPr>
            <a:xfrm>
              <a:off x="539552" y="3717032"/>
              <a:ext cx="1512168" cy="1512168"/>
            </a:xfrm>
            <a:prstGeom prst="rect">
              <a:avLst/>
            </a:prstGeom>
            <a:solidFill>
              <a:srgbClr val="C9CBE7"/>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Franklin Gothic Book" panose="020B0503020102020204"/>
                <a:ea typeface="微软雅黑" panose="020B0503020204020204" charset="-122"/>
                <a:cs typeface="+mn-cs"/>
              </a:endParaRPr>
            </a:p>
          </p:txBody>
        </p:sp>
      </p:grpSp>
      <p:sp>
        <p:nvSpPr>
          <p:cNvPr id="14" name="文本框 13"/>
          <p:cNvSpPr txBox="1"/>
          <p:nvPr/>
        </p:nvSpPr>
        <p:spPr>
          <a:xfrm>
            <a:off x="6309509" y="3178874"/>
            <a:ext cx="2988872" cy="1350563"/>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4BACC6"/>
                </a:solidFill>
                <a:effectLst/>
                <a:uLnTx/>
                <a:uFillTx/>
                <a:latin typeface="微软雅黑" panose="020B0503020204020204" charset="-122"/>
                <a:ea typeface="微软雅黑" panose="020B0503020204020204" charset="-122"/>
                <a:cs typeface="+mn-cs"/>
              </a:rPr>
              <a:t>广州市第一人民医院</a:t>
            </a:r>
            <a:endParaRPr kumimoji="0" lang="en-US" altLang="zh-CN" sz="2400" b="1" i="0" u="none" strike="noStrike" kern="1200" cap="none" spc="0" normalizeH="0" baseline="0" noProof="0" dirty="0">
              <a:ln>
                <a:noFill/>
              </a:ln>
              <a:solidFill>
                <a:srgbClr val="4BACC6"/>
              </a:solidFill>
              <a:effectLst/>
              <a:uLnTx/>
              <a:uFillTx/>
              <a:latin typeface="微软雅黑" panose="020B0503020204020204" charset="-122"/>
              <a:ea typeface="微软雅黑" panose="020B0503020204020204" charset="-122"/>
              <a:cs typeface="+mn-cs"/>
            </a:endParaRPr>
          </a:p>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4BACC6"/>
                </a:solidFill>
                <a:effectLst/>
                <a:uLnTx/>
                <a:uFillTx/>
                <a:latin typeface="微软雅黑" panose="020B0503020204020204" charset="-122"/>
                <a:ea typeface="微软雅黑" panose="020B0503020204020204" charset="-122"/>
                <a:cs typeface="+mn-cs"/>
              </a:rPr>
              <a:t>呼吸与危重症医学</a:t>
            </a:r>
            <a:r>
              <a:rPr lang="zh-CN" altLang="en-US" sz="2400" b="1" dirty="0">
                <a:solidFill>
                  <a:srgbClr val="4BACC6"/>
                </a:solidFill>
                <a:latin typeface="微软雅黑" panose="020B0503020204020204" charset="-122"/>
                <a:ea typeface="微软雅黑" panose="020B0503020204020204" charset="-122"/>
              </a:rPr>
              <a:t>科</a:t>
            </a:r>
            <a:endParaRPr kumimoji="0" lang="en-US" altLang="zh-CN" sz="2400" b="1" i="0" u="none" strike="noStrike" kern="1200" cap="none" spc="0" normalizeH="0" baseline="0" noProof="0" dirty="0">
              <a:ln>
                <a:noFill/>
              </a:ln>
              <a:solidFill>
                <a:srgbClr val="4BACC6"/>
              </a:solidFill>
              <a:effectLst/>
              <a:uLnTx/>
              <a:uFillTx/>
              <a:latin typeface="微软雅黑" panose="020B0503020204020204" charset="-122"/>
              <a:ea typeface="微软雅黑" panose="020B0503020204020204" charset="-122"/>
              <a:cs typeface="+mn-cs"/>
            </a:endParaRPr>
          </a:p>
          <a:p>
            <a:pPr marL="0" marR="0" lvl="0" indent="0" algn="l" defTabSz="914400" rtl="0" eaLnBrk="1" fontAlgn="auto" latinLnBrk="0" hangingPunct="1">
              <a:lnSpc>
                <a:spcPct val="120000"/>
              </a:lnSpc>
              <a:spcBef>
                <a:spcPts val="0"/>
              </a:spcBef>
              <a:spcAft>
                <a:spcPts val="0"/>
              </a:spcAft>
              <a:buClrTx/>
              <a:buSzTx/>
              <a:buFontTx/>
              <a:buNone/>
              <a:defRPr/>
            </a:pPr>
            <a:endParaRPr kumimoji="0" lang="zh-CN" altLang="en-US" sz="2200" b="1" i="0" u="none" strike="noStrike" kern="1200" cap="none" spc="0" normalizeH="0" baseline="0" noProof="0" dirty="0">
              <a:ln>
                <a:noFill/>
              </a:ln>
              <a:solidFill>
                <a:srgbClr val="4BACC6"/>
              </a:solidFill>
              <a:effectLst/>
              <a:uLnTx/>
              <a:uFillTx/>
              <a:latin typeface="微软雅黑" panose="020B0503020204020204" charset="-122"/>
              <a:ea typeface="微软雅黑" panose="020B0503020204020204" charset="-122"/>
              <a:cs typeface="+mn-cs"/>
            </a:endParaRPr>
          </a:p>
        </p:txBody>
      </p:sp>
      <p:pic>
        <p:nvPicPr>
          <p:cNvPr id="17" name="图片 16"/>
          <p:cNvPicPr>
            <a:picLocks noChangeAspect="1"/>
          </p:cNvPicPr>
          <p:nvPr/>
        </p:nvPicPr>
        <p:blipFill>
          <a:blip r:embed="rId1"/>
          <a:stretch>
            <a:fillRect/>
          </a:stretch>
        </p:blipFill>
        <p:spPr>
          <a:xfrm>
            <a:off x="5544895" y="2011837"/>
            <a:ext cx="4311625" cy="96887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600">
        <p:blinds dir="vert"/>
      </p:transition>
    </mc:Choice>
    <mc:Fallback>
      <p:transition spd="slow">
        <p:blinds dir="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4-11-15 </a:t>
            </a:r>
            <a:r>
              <a:rPr lang="en-US" dirty="0" err="1"/>
              <a:t>胸部CT</a:t>
            </a:r>
            <a:r>
              <a:rPr lang="zh-CN" altLang="en-US" dirty="0"/>
              <a:t>增强</a:t>
            </a:r>
            <a:r>
              <a:rPr lang="en-US" dirty="0"/>
              <a:t>+CTA</a:t>
            </a:r>
            <a:endParaRPr lang="zh-CN" altLang="en-US" dirty="0"/>
          </a:p>
        </p:txBody>
      </p:sp>
      <p:pic>
        <p:nvPicPr>
          <p:cNvPr id="3075" name="Picture 3"/>
          <p:cNvPicPr>
            <a:picLocks noGrp="1" noChangeAspect="1" noChangeArrowheads="1"/>
          </p:cNvPicPr>
          <p:nvPr>
            <p:ph idx="1"/>
          </p:nvPr>
        </p:nvPicPr>
        <p:blipFill>
          <a:blip r:embed="rId1"/>
          <a:srcRect/>
          <a:stretch>
            <a:fillRect/>
          </a:stretch>
        </p:blipFill>
        <p:spPr bwMode="auto">
          <a:xfrm>
            <a:off x="800100" y="2066082"/>
            <a:ext cx="10515600" cy="3641824"/>
          </a:xfrm>
          <a:prstGeom prst="rect">
            <a:avLst/>
          </a:prstGeom>
          <a:noFill/>
          <a:ln w="9525">
            <a:noFill/>
            <a:miter lim="800000"/>
            <a:headEnd/>
            <a:tailEnd/>
          </a:ln>
          <a:effec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4-11-15</a:t>
            </a:r>
            <a:r>
              <a:rPr lang="en-US" dirty="0"/>
              <a:t> </a:t>
            </a:r>
            <a:r>
              <a:rPr lang="en-US" dirty="0" err="1"/>
              <a:t>口咽、舌CT平扫＋增强＋MPR</a:t>
            </a:r>
            <a:endParaRPr lang="zh-CN" altLang="en-US" dirty="0"/>
          </a:p>
        </p:txBody>
      </p:sp>
      <p:sp>
        <p:nvSpPr>
          <p:cNvPr id="3" name="内容占位符 2"/>
          <p:cNvSpPr>
            <a:spLocks noGrp="1"/>
          </p:cNvSpPr>
          <p:nvPr>
            <p:ph idx="1"/>
          </p:nvPr>
        </p:nvSpPr>
        <p:spPr>
          <a:xfrm>
            <a:off x="5991366" y="2620371"/>
            <a:ext cx="3985148" cy="1473958"/>
          </a:xfrm>
        </p:spPr>
        <p:txBody>
          <a:bodyPr>
            <a:normAutofit/>
          </a:bodyPr>
          <a:lstStyle/>
          <a:p>
            <a:pPr>
              <a:buNone/>
            </a:pPr>
            <a:r>
              <a:rPr lang="en-US" b="1" dirty="0"/>
              <a:t>  </a:t>
            </a:r>
            <a:r>
              <a:rPr lang="en-US" sz="2000" b="1" dirty="0" err="1"/>
              <a:t>口腔癌术后改变，未见明显肿瘤残留或复发征象</a:t>
            </a:r>
            <a:r>
              <a:rPr lang="en-US" sz="2000" b="1" dirty="0"/>
              <a:t>。</a:t>
            </a:r>
            <a:endParaRPr lang="zh-CN" altLang="en-US" dirty="0"/>
          </a:p>
          <a:p>
            <a:endParaRPr lang="zh-CN" altLang="en-US" dirty="0"/>
          </a:p>
        </p:txBody>
      </p:sp>
      <p:pic>
        <p:nvPicPr>
          <p:cNvPr id="1026" name="Picture 2"/>
          <p:cNvPicPr>
            <a:picLocks noChangeAspect="1" noChangeArrowheads="1"/>
          </p:cNvPicPr>
          <p:nvPr/>
        </p:nvPicPr>
        <p:blipFill>
          <a:blip r:embed="rId1" cstate="print"/>
          <a:srcRect/>
          <a:stretch>
            <a:fillRect/>
          </a:stretch>
        </p:blipFill>
        <p:spPr bwMode="auto">
          <a:xfrm>
            <a:off x="1801507" y="1122101"/>
            <a:ext cx="4039735" cy="1720976"/>
          </a:xfrm>
          <a:prstGeom prst="rect">
            <a:avLst/>
          </a:prstGeom>
          <a:noFill/>
          <a:ln w="9525">
            <a:noFill/>
            <a:miter lim="800000"/>
            <a:headEnd/>
            <a:tailEnd/>
          </a:ln>
          <a:effectLst/>
        </p:spPr>
      </p:pic>
      <p:pic>
        <p:nvPicPr>
          <p:cNvPr id="1027" name="Picture 3"/>
          <p:cNvPicPr>
            <a:picLocks noChangeAspect="1" noChangeArrowheads="1"/>
          </p:cNvPicPr>
          <p:nvPr/>
        </p:nvPicPr>
        <p:blipFill>
          <a:blip r:embed="rId2" cstate="print"/>
          <a:srcRect/>
          <a:stretch>
            <a:fillRect/>
          </a:stretch>
        </p:blipFill>
        <p:spPr bwMode="auto">
          <a:xfrm>
            <a:off x="1786010" y="2904999"/>
            <a:ext cx="4014289" cy="1655405"/>
          </a:xfrm>
          <a:prstGeom prst="rect">
            <a:avLst/>
          </a:prstGeom>
          <a:noFill/>
          <a:ln w="9525">
            <a:noFill/>
            <a:miter lim="800000"/>
            <a:headEnd/>
            <a:tailEnd/>
          </a:ln>
          <a:effectLst/>
        </p:spPr>
      </p:pic>
      <p:pic>
        <p:nvPicPr>
          <p:cNvPr id="1028" name="Picture 4"/>
          <p:cNvPicPr>
            <a:picLocks noChangeAspect="1" noChangeArrowheads="1"/>
          </p:cNvPicPr>
          <p:nvPr/>
        </p:nvPicPr>
        <p:blipFill>
          <a:blip r:embed="rId3" cstate="print"/>
          <a:srcRect/>
          <a:stretch>
            <a:fillRect/>
          </a:stretch>
        </p:blipFill>
        <p:spPr bwMode="auto">
          <a:xfrm>
            <a:off x="1755019" y="4597946"/>
            <a:ext cx="4017985" cy="1692247"/>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辅助检查</a:t>
            </a:r>
            <a:endParaRPr lang="zh-CN" altLang="en-US" dirty="0"/>
          </a:p>
        </p:txBody>
      </p:sp>
      <p:sp>
        <p:nvSpPr>
          <p:cNvPr id="3" name="内容占位符 2"/>
          <p:cNvSpPr>
            <a:spLocks noGrp="1"/>
          </p:cNvSpPr>
          <p:nvPr>
            <p:ph idx="1"/>
          </p:nvPr>
        </p:nvSpPr>
        <p:spPr/>
        <p:txBody>
          <a:bodyPr/>
          <a:lstStyle/>
          <a:p>
            <a:r>
              <a:rPr lang="zh-CN" altLang="en-US" sz="2000" dirty="0"/>
              <a:t>血常规</a:t>
            </a:r>
            <a:r>
              <a:rPr lang="en-US" altLang="zh-CN" sz="2000" dirty="0"/>
              <a:t>+Ret:</a:t>
            </a:r>
            <a:r>
              <a:rPr lang="zh-CN" altLang="en-US" sz="2000" dirty="0"/>
              <a:t> </a:t>
            </a:r>
            <a:r>
              <a:rPr lang="en-US" altLang="zh-CN" sz="2000" dirty="0"/>
              <a:t>WBC 11.79*10^9/L,</a:t>
            </a:r>
            <a:r>
              <a:rPr lang="zh-CN" altLang="en-US" sz="2000" dirty="0"/>
              <a:t> </a:t>
            </a:r>
            <a:r>
              <a:rPr lang="en-US" altLang="zh-CN" sz="2000" dirty="0"/>
              <a:t>HGB 108 g/L,</a:t>
            </a:r>
            <a:r>
              <a:rPr lang="zh-CN" altLang="en-US" sz="2000" dirty="0"/>
              <a:t> </a:t>
            </a:r>
            <a:r>
              <a:rPr lang="en-US" altLang="zh-CN" sz="2000" dirty="0"/>
              <a:t>PLT 261*10^9/L,</a:t>
            </a:r>
            <a:r>
              <a:rPr lang="zh-CN" altLang="en-US" sz="2000" dirty="0"/>
              <a:t> </a:t>
            </a:r>
            <a:r>
              <a:rPr lang="en-US" altLang="zh-CN" sz="2000" dirty="0" err="1"/>
              <a:t>Neut</a:t>
            </a:r>
            <a:r>
              <a:rPr lang="en-US" altLang="zh-CN" sz="2000" dirty="0"/>
              <a:t>% 87.10 %</a:t>
            </a:r>
            <a:endParaRPr lang="en-US" altLang="zh-CN" sz="2000" dirty="0"/>
          </a:p>
          <a:p>
            <a:endParaRPr lang="en-US" altLang="zh-CN" sz="2000" dirty="0"/>
          </a:p>
          <a:p>
            <a:r>
              <a:rPr lang="it-IT" altLang="zh-CN" sz="2000" dirty="0"/>
              <a:t>D-</a:t>
            </a:r>
            <a:r>
              <a:rPr lang="zh-CN" altLang="it-IT" sz="2000" dirty="0"/>
              <a:t>二聚体</a:t>
            </a:r>
            <a:r>
              <a:rPr lang="zh-CN" altLang="en-US" sz="2000" dirty="0"/>
              <a:t>：</a:t>
            </a:r>
            <a:r>
              <a:rPr lang="it-IT" altLang="zh-CN" sz="2000" dirty="0"/>
              <a:t>1210 ug/L</a:t>
            </a:r>
            <a:endParaRPr lang="it-IT" altLang="zh-CN" sz="2000" dirty="0"/>
          </a:p>
          <a:p>
            <a:endParaRPr lang="it-IT" altLang="zh-CN" sz="2000" dirty="0"/>
          </a:p>
          <a:p>
            <a:r>
              <a:rPr lang="zh-CN" altLang="en-US" sz="2000" dirty="0"/>
              <a:t>凝血四项</a:t>
            </a:r>
            <a:r>
              <a:rPr lang="en-US" altLang="zh-CN" sz="2000" dirty="0"/>
              <a:t>:FIB 6.87 g/L</a:t>
            </a:r>
            <a:r>
              <a:rPr lang="zh-CN" altLang="en-US" sz="2000" dirty="0"/>
              <a:t>，余正常。</a:t>
            </a:r>
            <a:endParaRPr lang="en-US" altLang="zh-CN" sz="2000" dirty="0"/>
          </a:p>
          <a:p>
            <a:endParaRPr lang="it-IT" altLang="zh-CN" sz="2000" dirty="0"/>
          </a:p>
          <a:p>
            <a:r>
              <a:rPr lang="zh-CN" altLang="en-US" sz="2000" dirty="0"/>
              <a:t>血气分析</a:t>
            </a:r>
            <a:r>
              <a:rPr lang="en-US" altLang="zh-CN" sz="2000" dirty="0"/>
              <a:t>:pH 7.446 ,</a:t>
            </a:r>
            <a:r>
              <a:rPr lang="zh-CN" altLang="en-US" sz="2000" dirty="0"/>
              <a:t> </a:t>
            </a:r>
            <a:r>
              <a:rPr lang="en-US" altLang="zh-CN" sz="2000" dirty="0"/>
              <a:t>pCO2 33.3 mmHg,</a:t>
            </a:r>
            <a:r>
              <a:rPr lang="zh-CN" altLang="en-US" sz="2000" dirty="0"/>
              <a:t> </a:t>
            </a:r>
            <a:r>
              <a:rPr lang="en-US" altLang="zh-CN" sz="2000" dirty="0"/>
              <a:t>pO2 71.2 </a:t>
            </a:r>
            <a:r>
              <a:rPr lang="en-US" altLang="zh-CN" sz="2000" dirty="0" err="1"/>
              <a:t>mmHG</a:t>
            </a:r>
            <a:endParaRPr lang="en-US" altLang="zh-CN" sz="2000" dirty="0"/>
          </a:p>
          <a:p>
            <a:endParaRPr lang="en-US" altLang="zh-CN" sz="2000" dirty="0"/>
          </a:p>
          <a:p>
            <a:r>
              <a:rPr lang="zh-CN" altLang="en-US" sz="2000" dirty="0"/>
              <a:t>肝肾功能无异常</a:t>
            </a:r>
            <a:endParaRPr lang="en-US" altLang="zh-CN" sz="2000" dirty="0"/>
          </a:p>
          <a:p>
            <a:endParaRPr lang="en-US" altLang="zh-CN" dirty="0"/>
          </a:p>
          <a:p>
            <a:pPr>
              <a:buNone/>
            </a:pPr>
            <a:r>
              <a:rPr lang="zh-CN" altLang="en-US" dirty="0"/>
              <a:t>      </a:t>
            </a:r>
            <a:endParaRPr lang="en-US" altLang="zh-CN" dirty="0"/>
          </a:p>
          <a:p>
            <a:endParaRPr lang="en-US" altLang="zh-CN" dirty="0"/>
          </a:p>
        </p:txBody>
      </p:sp>
    </p:spTree>
  </p:cSld>
  <p:clrMapOvr>
    <a:masterClrMapping/>
  </p:clrMapOvr>
</p:sld>
</file>

<file path=ppt/tags/tag1.xml><?xml version="1.0" encoding="utf-8"?>
<p:tagLst xmlns:p="http://schemas.openxmlformats.org/presentationml/2006/main">
  <p:tag name="THINKCELLSHAPEDONOTDELETE" val="pu7sJsrCbk0.ODv6owism_A"/>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ISLIDE.SMARTDIAGRAM" val="#789230;"/>
</p:tagLst>
</file>

<file path=ppt/tags/tag4.xml><?xml version="1.0" encoding="utf-8"?>
<p:tagLst xmlns:p="http://schemas.openxmlformats.org/presentationml/2006/main">
  <p:tag name="ISLIDE.ICON" val="#391212;"/>
</p:tagLst>
</file>

<file path=ppt/tags/tag5.xml><?xml version="1.0" encoding="utf-8"?>
<p:tagLst xmlns:p="http://schemas.openxmlformats.org/presentationml/2006/main">
  <p:tag name="KSO_WM_UNIT_TABLE_BEAUTIFY" val="smartTable{ed3eacdc-ab55-46d3-9f15-fbfbb66969b9}"/>
  <p:tag name="TABLE_ENDDRAG_ORIGIN_RECT" val="865*374"/>
  <p:tag name="TABLE_ENDDRAG_RECT" val="54*110*865*374"/>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 name="KSO_WM_DIAGRAM_VIRTUALLY_FRAME" val="{&quot;height&quot;:154.9211811023622,&quot;left&quot;:266.3999212598425,&quot;top&quot;:208.2,&quot;width&quot;:592.4715748031497}"/>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wm#"/>
  <p:tag name="KSO_WM_TEMPLATE_CATEGORY" val="custom"/>
  <p:tag name="KSO_WM_TEMPLATE_INDEX" val="20205176"/>
</p:tagLst>
</file>

<file path=ppt/theme/theme1.xml><?xml version="1.0" encoding="utf-8"?>
<a:theme xmlns:a="http://schemas.openxmlformats.org/drawingml/2006/main" name="市一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市一呼吸科">
  <a:themeElements>
    <a:clrScheme name="蓝色暖调">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anofi_Presentation_Ochre">
  <a:themeElements>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fontScheme name="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raClrSchemeLst>
    <a:extraClrScheme>
      <a:clrScheme name="Conception personnalisée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7_Blank 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bg1"/>
          </a:solidFill>
          <a:prstDash val="solid"/>
          <a:round/>
          <a:headEnd type="none" w="med" len="med"/>
          <a:tailEnd type="none" w="med" len="med"/>
        </a:ln>
      </a:spPr>
      <a:bodyPr vert="horz" wrap="square" lIns="91440" tIns="45720" rIns="91440" bIns="45720" numCol="1" anchor="ctr"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sz="1800" b="0" i="0" u="none" strike="noStrike" cap="none" normalizeH="0" baseline="0" smtClean="0">
            <a:ln>
              <a:noFill/>
            </a:ln>
            <a:solidFill>
              <a:srgbClr val="FFFF00"/>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bg1"/>
          </a:solidFill>
          <a:prstDash val="solid"/>
          <a:round/>
          <a:headEnd type="none" w="med" len="med"/>
          <a:tailEnd type="none" w="med" len="med"/>
        </a:ln>
      </a:spPr>
      <a:bodyPr vert="horz" wrap="square" lIns="91440" tIns="45720" rIns="91440" bIns="45720" numCol="1" anchor="ctr"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sz="1800" b="0" i="0" u="none" strike="noStrike" cap="none" normalizeH="0" baseline="0" smtClean="0">
            <a:ln>
              <a:noFill/>
            </a:ln>
            <a:solidFill>
              <a:srgbClr val="FFFF00"/>
            </a:solidFill>
            <a:effectLst/>
            <a:latin typeface="Arial" panose="020B0604020202020204" pitchFamily="34" charset="0"/>
            <a:cs typeface="Arial" panose="020B0604020202020204" pitchFamily="34" charset="0"/>
          </a:defRPr>
        </a:defPPr>
      </a:lstStyle>
    </a:lnDef>
  </a:objectDefaults>
  <a:extraClrSchemeLst>
    <a:extraClrScheme>
      <a:clrScheme name="12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2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2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2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2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2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2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2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2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2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2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2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病例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市一主题</Template>
  <TotalTime>0</TotalTime>
  <Words>9976</Words>
  <Application>WPS 演示</Application>
  <PresentationFormat>宽屏</PresentationFormat>
  <Paragraphs>877</Paragraphs>
  <Slides>68</Slides>
  <Notes>16</Notes>
  <HiddenSlides>0</HiddenSlides>
  <MMClips>0</MMClips>
  <ScaleCrop>false</ScaleCrop>
  <HeadingPairs>
    <vt:vector size="8" baseType="variant">
      <vt:variant>
        <vt:lpstr>已用的字体</vt:lpstr>
      </vt:variant>
      <vt:variant>
        <vt:i4>23</vt:i4>
      </vt:variant>
      <vt:variant>
        <vt:lpstr>主题</vt:lpstr>
      </vt:variant>
      <vt:variant>
        <vt:i4>7</vt:i4>
      </vt:variant>
      <vt:variant>
        <vt:lpstr>嵌入 OLE 服务器</vt:lpstr>
      </vt:variant>
      <vt:variant>
        <vt:i4>1</vt:i4>
      </vt:variant>
      <vt:variant>
        <vt:lpstr>幻灯片标题</vt:lpstr>
      </vt:variant>
      <vt:variant>
        <vt:i4>68</vt:i4>
      </vt:variant>
    </vt:vector>
  </HeadingPairs>
  <TitlesOfParts>
    <vt:vector size="99" baseType="lpstr">
      <vt:lpstr>Arial</vt:lpstr>
      <vt:lpstr>宋体</vt:lpstr>
      <vt:lpstr>Wingdings</vt:lpstr>
      <vt:lpstr>华文行楷</vt:lpstr>
      <vt:lpstr>微软雅黑</vt:lpstr>
      <vt:lpstr>Calibri</vt:lpstr>
      <vt:lpstr>Franklin Gothic Book</vt:lpstr>
      <vt:lpstr>黑体</vt:lpstr>
      <vt:lpstr>Times New Roman</vt:lpstr>
      <vt:lpstr>Tahoma</vt:lpstr>
      <vt:lpstr>Bebas Neue</vt:lpstr>
      <vt:lpstr>Bebas</vt:lpstr>
      <vt:lpstr>Verdana</vt:lpstr>
      <vt:lpstr>华文细黑</vt:lpstr>
      <vt:lpstr>Arial Unicode MS</vt:lpstr>
      <vt:lpstr>BlinkMacSystemFont</vt:lpstr>
      <vt:lpstr>等线</vt:lpstr>
      <vt:lpstr>Arial</vt:lpstr>
      <vt:lpstr>汉仪旗黑-55简</vt:lpstr>
      <vt:lpstr>Calibri</vt:lpstr>
      <vt:lpstr>Verdana</vt:lpstr>
      <vt:lpstr>Wingdings</vt:lpstr>
      <vt:lpstr>WenQuanYiZenHei</vt:lpstr>
      <vt:lpstr>市一主题</vt:lpstr>
      <vt:lpstr>2_Office 主题</vt:lpstr>
      <vt:lpstr>市一呼吸科</vt:lpstr>
      <vt:lpstr>Sanofi_Presentation_Ochre</vt:lpstr>
      <vt:lpstr>17_Blank Presentation</vt:lpstr>
      <vt:lpstr>Office 主题</vt:lpstr>
      <vt:lpstr>病例1</vt:lpstr>
      <vt:lpstr>TCLayout.ActiveDocument.1</vt:lpstr>
      <vt:lpstr>PowerPoint 演示文稿</vt:lpstr>
      <vt:lpstr>PowerPoint 演示文稿</vt:lpstr>
      <vt:lpstr>一般情况</vt:lpstr>
      <vt:lpstr>病史</vt:lpstr>
      <vt:lpstr>体格检查</vt:lpstr>
      <vt:lpstr>2024-11-15 胸部CT增强+CTA</vt:lpstr>
      <vt:lpstr>2024-11-15 胸部CT增强+CTA</vt:lpstr>
      <vt:lpstr>2024-11-15 口咽、舌CT平扫＋增强＋MPR</vt:lpstr>
      <vt:lpstr>辅助检查</vt:lpstr>
      <vt:lpstr>诊治</vt:lpstr>
      <vt:lpstr>BAE（支气管动脉栓塞）</vt:lpstr>
      <vt:lpstr>BAE（支气管动脉栓塞）</vt:lpstr>
      <vt:lpstr>介入科急会诊</vt:lpstr>
      <vt:lpstr>2024-11-15 急诊支气管动脉栓塞术</vt:lpstr>
      <vt:lpstr>2024-11-19纤支镜检查</vt:lpstr>
      <vt:lpstr>病理</vt:lpstr>
      <vt:lpstr>2024-11-26 PETCT</vt:lpstr>
      <vt:lpstr>基因+PD-L1检测</vt:lpstr>
      <vt:lpstr>诊断</vt:lpstr>
      <vt:lpstr>中国III期NSCLC——不容小觑的庞大患者群体</vt:lpstr>
      <vt:lpstr>III期NSCLC患者的5年生存差异大</vt:lpstr>
      <vt:lpstr>III期NSCLC患者最佳治疗策略存在争议</vt:lpstr>
      <vt:lpstr>2024 CSCO指南</vt:lpstr>
      <vt:lpstr>临床不可忽视的问题：cCRT相比sCRT，毒性显著增加</vt:lpstr>
      <vt:lpstr>诊断</vt:lpstr>
      <vt:lpstr>治疗</vt:lpstr>
      <vt:lpstr>2025-2-28第二次住院</vt:lpstr>
      <vt:lpstr>2025-02-28胸部CT平扫</vt:lpstr>
      <vt:lpstr>辅助检查</vt:lpstr>
      <vt:lpstr>放射相关性肺炎诊断标准</vt:lpstr>
      <vt:lpstr>放射相关性肺炎分级及治疗</vt:lpstr>
      <vt:lpstr>放射相关性肺炎治疗</vt:lpstr>
      <vt:lpstr>门诊随访评估</vt:lpstr>
      <vt:lpstr>2025-5-8 第三次住院</vt:lpstr>
      <vt:lpstr>2024 CSCO指南</vt:lpstr>
      <vt:lpstr>治疗</vt:lpstr>
      <vt:lpstr>2025-05-27  第四次住院 </vt:lpstr>
      <vt:lpstr>2025-5-27            VS        2025-5-8</vt:lpstr>
      <vt:lpstr>2025-5-27            VS        2025-5-8</vt:lpstr>
      <vt:lpstr>2025-5-27            VS        2025-5-8</vt:lpstr>
      <vt:lpstr>2025-5-27            VS        2025-5-8</vt:lpstr>
      <vt:lpstr>辅助检查</vt:lpstr>
      <vt:lpstr>辅助检查</vt:lpstr>
      <vt:lpstr>肺部病变进展，病因？</vt:lpstr>
      <vt:lpstr>2025-6-3 纤支镜检查</vt:lpstr>
      <vt:lpstr> BALF  tNGS</vt:lpstr>
      <vt:lpstr>BALF  GM及培养</vt:lpstr>
      <vt:lpstr>病理</vt:lpstr>
      <vt:lpstr>侵袭性霉菌病发病率逐年增加</vt:lpstr>
      <vt:lpstr>侵袭性真菌病疾病负担重；其中，霉菌感染患者病死率相对更高</vt:lpstr>
      <vt:lpstr>侵袭性曲霉病的相关危险因素</vt:lpstr>
      <vt:lpstr>曲霉等霉菌已成为临床中的常见检出致病真菌</vt:lpstr>
      <vt:lpstr>烟曲霉是最常见的曲霉菌种，毛霉属、根霉属是常见的毛霉菌种</vt:lpstr>
      <vt:lpstr>近年来曲霉耐药率不断增加，49%的烟曲霉对至少一种抗霉菌药物耐药</vt:lpstr>
      <vt:lpstr>常用抗霉菌药物对曲霉及毛霉的抗菌活性</vt:lpstr>
      <vt:lpstr>侵袭性霉菌病患者常存在脏器功能损伤，治疗时还需重视药物的脏器毒性</vt:lpstr>
      <vt:lpstr>肾功能不全患者中抗霉菌药物的应用</vt:lpstr>
      <vt:lpstr>与伏立康唑相比，艾沙康唑具有更高的安全性</vt:lpstr>
      <vt:lpstr>艾沙康唑单药治疗侵袭性曲霉病疗效相对更佳</vt:lpstr>
      <vt:lpstr>艾沙康唑是治疗IA的一线选择</vt:lpstr>
      <vt:lpstr>侵袭性曲霉病治疗</vt:lpstr>
      <vt:lpstr>2025-6-17         VS        2025-5-27</vt:lpstr>
      <vt:lpstr>治疗</vt:lpstr>
      <vt:lpstr>2025-7-22        VS        2025-6-17</vt:lpstr>
      <vt:lpstr>    治疗回顾</vt:lpstr>
      <vt:lpstr>总结</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病例分享</dc:title>
  <dc:creator>doctor</dc:creator>
  <cp:lastModifiedBy>青青 子衿 </cp:lastModifiedBy>
  <cp:revision>138</cp:revision>
  <dcterms:created xsi:type="dcterms:W3CDTF">2025-07-18T02:10:00Z</dcterms:created>
  <dcterms:modified xsi:type="dcterms:W3CDTF">2025-11-13T13:1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CEF8483628D44167A071C8CB0C179951_12</vt:lpwstr>
  </property>
  <property fmtid="{D5CDD505-2E9C-101B-9397-08002B2CF9AE}" pid="3" name="KSOProductBuildVer">
    <vt:lpwstr>2052-12.1.0.23125</vt:lpwstr>
  </property>
</Properties>
</file>